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7" r:id="rId5"/>
    <p:sldMasterId id="2147483701" r:id="rId6"/>
    <p:sldMasterId id="2147484578" r:id="rId7"/>
    <p:sldMasterId id="2147484581" r:id="rId8"/>
  </p:sldMasterIdLst>
  <p:notesMasterIdLst>
    <p:notesMasterId r:id="rId15"/>
  </p:notesMasterIdLst>
  <p:sldIdLst>
    <p:sldId id="2147197409" r:id="rId9"/>
    <p:sldId id="2147197412" r:id="rId10"/>
    <p:sldId id="2147197411" r:id="rId11"/>
    <p:sldId id="2147197406" r:id="rId12"/>
    <p:sldId id="2147197410" r:id="rId13"/>
    <p:sldId id="2147197414" r:id="rId14"/>
  </p:sldIdLst>
  <p:sldSz cx="12192000" cy="6858000"/>
  <p:notesSz cx="6858000" cy="9144000"/>
  <p:defaultTextStyle>
    <a:defPPr>
      <a:defRPr lang="en-US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F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D1BBF3-3882-441C-BC39-0EEC7A56959A}" v="52" dt="2026-01-29T14:07:34.658"/>
    <p1510:client id="{3FE81ACC-73F5-CF03-9D32-E13851E0505D}" v="554" dt="2026-01-29T13:50:57.236"/>
    <p1510:client id="{ADE4CE39-B03C-461B-82C6-FD98C89C4355}" v="1" dt="2026-01-29T16:37:54.800"/>
  </p1510:revLst>
</p1510:revInfo>
</file>

<file path=ppt/tableStyles.xml><?xml version="1.0" encoding="utf-8"?>
<a:tblStyleLst xmlns:a="http://schemas.openxmlformats.org/drawingml/2006/main" def="{5CB50753-0532-47EE-B18D-2747BFE5155E}">
  <a:tblStyle styleId="{5CB50753-0532-47EE-B18D-2747BFE5155E}" styleName="Connect bus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tx1"/>
              </a:solidFill>
            </a:ln>
          </a:top>
          <a:bottom>
            <a:ln w="6350" cmpd="sng">
              <a:solidFill>
                <a:schemeClr val="tx1"/>
              </a:solidFill>
            </a:ln>
          </a:bottom>
          <a:insideH>
            <a:ln w="635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>
        <a:fontRef idx="minor">
          <a:scrgbClr r="0" g="0" b="0"/>
        </a:fontRef>
        <a:schemeClr val="dk1"/>
      </a:tcTxStyle>
      <a:tcStyle>
        <a:tcBdr/>
        <a:fill>
          <a:solidFill>
            <a:schemeClr val="lt2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2"/>
          </a:solidFill>
        </a:fill>
      </a:tcStyle>
    </a:band1V>
    <a:firstRow>
      <a:tcStyle>
        <a:tcBdr/>
        <a:fill>
          <a:noFill/>
        </a:fill>
      </a:tcStyle>
    </a:firstRow>
  </a:tblStyle>
  <a:tblStyle styleId="{7E9639D4-E3E2-4D34-9284-5A2195B3D0D7}" styleName="Lys sti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Temastil 1 – uthev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12C8C85-51F0-491E-9774-3900AFEF0FD7}" styleName="Lys stil 2 – uthev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iddels stil 1 – uthev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9" autoAdjust="0"/>
    <p:restoredTop sz="89882" autoAdjust="0"/>
  </p:normalViewPr>
  <p:slideViewPr>
    <p:cSldViewPr snapToGrid="0">
      <p:cViewPr varScale="1">
        <p:scale>
          <a:sx n="86" d="100"/>
          <a:sy n="86" d="100"/>
        </p:scale>
        <p:origin x="533" y="53"/>
      </p:cViewPr>
      <p:guideLst>
        <p:guide orient="horz" pos="2160"/>
        <p:guide pos="38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0F6A32-F57A-49C8-B730-BF38D5BC1AAA}" type="doc">
      <dgm:prSet loTypeId="urn:microsoft.com/office/officeart/2005/8/layout/default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6A8120D-1EA6-4E71-BFF4-776C1B5B067B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Tettsteder:</a:t>
          </a:r>
          <a:endParaRPr lang="en-US"/>
        </a:p>
      </dgm:t>
    </dgm:pt>
    <dgm:pt modelId="{6387FC1A-497F-44AE-A54C-94A1FF33AE7A}" type="parTrans" cxnId="{0EF4B199-9BFF-4861-8CAB-3C661F50175E}">
      <dgm:prSet/>
      <dgm:spPr/>
      <dgm:t>
        <a:bodyPr/>
        <a:lstStyle/>
        <a:p>
          <a:endParaRPr lang="en-US"/>
        </a:p>
      </dgm:t>
    </dgm:pt>
    <dgm:pt modelId="{43EE4139-7AE5-4BF5-BE06-1D057121BCFE}" type="sibTrans" cxnId="{0EF4B199-9BFF-4861-8CAB-3C661F50175E}">
      <dgm:prSet/>
      <dgm:spPr/>
      <dgm:t>
        <a:bodyPr/>
        <a:lstStyle/>
        <a:p>
          <a:endParaRPr lang="en-US"/>
        </a:p>
      </dgm:t>
    </dgm:pt>
    <dgm:pt modelId="{9C1D5A3C-FB11-4FDC-BF0E-2401F64AC0A0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Harestua</a:t>
          </a:r>
          <a:endParaRPr lang="en-US"/>
        </a:p>
      </dgm:t>
    </dgm:pt>
    <dgm:pt modelId="{974A0C5B-439E-415C-9241-E9BA151D29D0}" type="parTrans" cxnId="{3D6295EB-C29B-441C-ABCA-FA53A8C46C46}">
      <dgm:prSet/>
      <dgm:spPr/>
      <dgm:t>
        <a:bodyPr/>
        <a:lstStyle/>
        <a:p>
          <a:endParaRPr lang="en-US"/>
        </a:p>
      </dgm:t>
    </dgm:pt>
    <dgm:pt modelId="{18FEEC6E-8DBD-45F9-9CE5-4B311B49808C}" type="sibTrans" cxnId="{3D6295EB-C29B-441C-ABCA-FA53A8C46C46}">
      <dgm:prSet/>
      <dgm:spPr/>
      <dgm:t>
        <a:bodyPr/>
        <a:lstStyle/>
        <a:p>
          <a:endParaRPr lang="en-US"/>
        </a:p>
      </dgm:t>
    </dgm:pt>
    <dgm:pt modelId="{4FFF7EFB-F410-4458-86AD-AFBFD95F0754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Grua</a:t>
          </a:r>
          <a:endParaRPr lang="en-US"/>
        </a:p>
      </dgm:t>
    </dgm:pt>
    <dgm:pt modelId="{E1D24B7C-2F46-4F42-8DBC-9EF6E935063D}" type="parTrans" cxnId="{22F8A643-14CC-43DF-89B2-39E44045C55C}">
      <dgm:prSet/>
      <dgm:spPr/>
      <dgm:t>
        <a:bodyPr/>
        <a:lstStyle/>
        <a:p>
          <a:endParaRPr lang="en-US"/>
        </a:p>
      </dgm:t>
    </dgm:pt>
    <dgm:pt modelId="{90333515-C357-42C1-BFAD-66D277CDA19F}" type="sibTrans" cxnId="{22F8A643-14CC-43DF-89B2-39E44045C55C}">
      <dgm:prSet/>
      <dgm:spPr/>
      <dgm:t>
        <a:bodyPr/>
        <a:lstStyle/>
        <a:p>
          <a:endParaRPr lang="en-US"/>
        </a:p>
      </dgm:t>
    </dgm:pt>
    <dgm:pt modelId="{992AF806-1EEB-485E-94CB-B1556A982CB7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Roa</a:t>
          </a:r>
          <a:endParaRPr lang="en-US"/>
        </a:p>
      </dgm:t>
    </dgm:pt>
    <dgm:pt modelId="{81B8B014-A387-4F9F-8BD9-92020797C24B}" type="parTrans" cxnId="{B33D5ECF-E8D1-4A93-8AA3-0D85BE0D16A7}">
      <dgm:prSet/>
      <dgm:spPr/>
      <dgm:t>
        <a:bodyPr/>
        <a:lstStyle/>
        <a:p>
          <a:endParaRPr lang="en-US"/>
        </a:p>
      </dgm:t>
    </dgm:pt>
    <dgm:pt modelId="{5AB3DBA1-3F55-4A7E-BB51-3B41FACAE8DB}" type="sibTrans" cxnId="{B33D5ECF-E8D1-4A93-8AA3-0D85BE0D16A7}">
      <dgm:prSet/>
      <dgm:spPr/>
      <dgm:t>
        <a:bodyPr/>
        <a:lstStyle/>
        <a:p>
          <a:endParaRPr lang="en-US"/>
        </a:p>
      </dgm:t>
    </dgm:pt>
    <dgm:pt modelId="{3AA7DF56-0DA0-4273-8CF7-88242FF73984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Gran</a:t>
          </a:r>
          <a:endParaRPr lang="en-US"/>
        </a:p>
      </dgm:t>
    </dgm:pt>
    <dgm:pt modelId="{3D6CF7FF-785C-4AEB-80AC-4AEBE8A083B3}" type="parTrans" cxnId="{64316869-9AFA-4A1C-992A-3DC1D3DB40F4}">
      <dgm:prSet/>
      <dgm:spPr/>
      <dgm:t>
        <a:bodyPr/>
        <a:lstStyle/>
        <a:p>
          <a:endParaRPr lang="en-US"/>
        </a:p>
      </dgm:t>
    </dgm:pt>
    <dgm:pt modelId="{0615C66D-B7FC-473B-A735-F21032CB85C6}" type="sibTrans" cxnId="{64316869-9AFA-4A1C-992A-3DC1D3DB40F4}">
      <dgm:prSet/>
      <dgm:spPr/>
      <dgm:t>
        <a:bodyPr/>
        <a:lstStyle/>
        <a:p>
          <a:endParaRPr lang="en-US"/>
        </a:p>
      </dgm:t>
    </dgm:pt>
    <dgm:pt modelId="{8CF939DB-7473-467D-83CD-E40EAB76F425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Brandbu</a:t>
          </a:r>
          <a:endParaRPr lang="en-US"/>
        </a:p>
      </dgm:t>
    </dgm:pt>
    <dgm:pt modelId="{44660D5D-DB8A-4AE0-8FFE-EA2EB5551312}" type="parTrans" cxnId="{0B8C9B24-C536-4DE6-89A1-8144FD0864A2}">
      <dgm:prSet/>
      <dgm:spPr/>
      <dgm:t>
        <a:bodyPr/>
        <a:lstStyle/>
        <a:p>
          <a:endParaRPr lang="en-US"/>
        </a:p>
      </dgm:t>
    </dgm:pt>
    <dgm:pt modelId="{1EE83191-214A-4913-BE03-CE05FAA417F8}" type="sibTrans" cxnId="{0B8C9B24-C536-4DE6-89A1-8144FD0864A2}">
      <dgm:prSet/>
      <dgm:spPr/>
      <dgm:t>
        <a:bodyPr/>
        <a:lstStyle/>
        <a:p>
          <a:endParaRPr lang="en-US"/>
        </a:p>
      </dgm:t>
    </dgm:pt>
    <dgm:pt modelId="{95BDE89C-BD87-4A85-ACB8-08979FE0C5E2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Jevnaker</a:t>
          </a:r>
          <a:endParaRPr lang="en-US"/>
        </a:p>
      </dgm:t>
    </dgm:pt>
    <dgm:pt modelId="{D616CF50-9F05-47F3-923D-69ED32DA5DB9}" type="parTrans" cxnId="{31970971-0D87-4530-B37B-CD7FE11F562D}">
      <dgm:prSet/>
      <dgm:spPr/>
      <dgm:t>
        <a:bodyPr/>
        <a:lstStyle/>
        <a:p>
          <a:endParaRPr lang="en-US"/>
        </a:p>
      </dgm:t>
    </dgm:pt>
    <dgm:pt modelId="{3076AB12-A4FA-4F61-AC23-C0F7A6034C84}" type="sibTrans" cxnId="{31970971-0D87-4530-B37B-CD7FE11F562D}">
      <dgm:prSet/>
      <dgm:spPr/>
      <dgm:t>
        <a:bodyPr/>
        <a:lstStyle/>
        <a:p>
          <a:endParaRPr lang="en-US"/>
        </a:p>
      </dgm:t>
    </dgm:pt>
    <dgm:pt modelId="{DBBD8BD8-B20B-4388-B953-ECC9EB2D396D}">
      <dgm:prSet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nb-NO" b="1"/>
            <a:t>Bjoneroa</a:t>
          </a:r>
          <a:endParaRPr lang="en-US"/>
        </a:p>
      </dgm:t>
    </dgm:pt>
    <dgm:pt modelId="{0078CC82-2144-409C-A9C3-972E982F553A}" type="parTrans" cxnId="{889694E4-3C83-44D0-B0A2-E35F8BB1D6BE}">
      <dgm:prSet/>
      <dgm:spPr/>
      <dgm:t>
        <a:bodyPr/>
        <a:lstStyle/>
        <a:p>
          <a:endParaRPr lang="en-US"/>
        </a:p>
      </dgm:t>
    </dgm:pt>
    <dgm:pt modelId="{18C45EB1-2020-4F8E-AA03-9C50389A1F86}" type="sibTrans" cxnId="{889694E4-3C83-44D0-B0A2-E35F8BB1D6BE}">
      <dgm:prSet/>
      <dgm:spPr/>
      <dgm:t>
        <a:bodyPr/>
        <a:lstStyle/>
        <a:p>
          <a:endParaRPr lang="en-US"/>
        </a:p>
      </dgm:t>
    </dgm:pt>
    <dgm:pt modelId="{5069A02C-A9CB-41F6-861D-C2637AAA5F7F}" type="pres">
      <dgm:prSet presAssocID="{790F6A32-F57A-49C8-B730-BF38D5BC1AAA}" presName="diagram" presStyleCnt="0">
        <dgm:presLayoutVars>
          <dgm:dir/>
          <dgm:resizeHandles val="exact"/>
        </dgm:presLayoutVars>
      </dgm:prSet>
      <dgm:spPr/>
    </dgm:pt>
    <dgm:pt modelId="{5814FCBB-FBAA-4896-A02B-194DB76337FE}" type="pres">
      <dgm:prSet presAssocID="{B6A8120D-1EA6-4E71-BFF4-776C1B5B067B}" presName="node" presStyleLbl="node1" presStyleIdx="0" presStyleCnt="1" custLinFactNeighborX="-7326" custLinFactNeighborY="-3175">
        <dgm:presLayoutVars>
          <dgm:bulletEnabled val="1"/>
        </dgm:presLayoutVars>
      </dgm:prSet>
      <dgm:spPr/>
    </dgm:pt>
  </dgm:ptLst>
  <dgm:cxnLst>
    <dgm:cxn modelId="{B32C4002-BB43-40CC-B5F6-CAFE960836AE}" type="presOf" srcId="{95BDE89C-BD87-4A85-ACB8-08979FE0C5E2}" destId="{5814FCBB-FBAA-4896-A02B-194DB76337FE}" srcOrd="0" destOrd="6" presId="urn:microsoft.com/office/officeart/2005/8/layout/default"/>
    <dgm:cxn modelId="{2A499E0C-D744-48DE-B192-04E77F34863F}" type="presOf" srcId="{8CF939DB-7473-467D-83CD-E40EAB76F425}" destId="{5814FCBB-FBAA-4896-A02B-194DB76337FE}" srcOrd="0" destOrd="5" presId="urn:microsoft.com/office/officeart/2005/8/layout/default"/>
    <dgm:cxn modelId="{09702C18-315C-4BA1-A750-34ED159D5C6C}" type="presOf" srcId="{DBBD8BD8-B20B-4388-B953-ECC9EB2D396D}" destId="{5814FCBB-FBAA-4896-A02B-194DB76337FE}" srcOrd="0" destOrd="7" presId="urn:microsoft.com/office/officeart/2005/8/layout/default"/>
    <dgm:cxn modelId="{0B8C9B24-C536-4DE6-89A1-8144FD0864A2}" srcId="{B6A8120D-1EA6-4E71-BFF4-776C1B5B067B}" destId="{8CF939DB-7473-467D-83CD-E40EAB76F425}" srcOrd="4" destOrd="0" parTransId="{44660D5D-DB8A-4AE0-8FFE-EA2EB5551312}" sibTransId="{1EE83191-214A-4913-BE03-CE05FAA417F8}"/>
    <dgm:cxn modelId="{5536402F-F368-46BA-8669-813EDEB1FE4D}" type="presOf" srcId="{992AF806-1EEB-485E-94CB-B1556A982CB7}" destId="{5814FCBB-FBAA-4896-A02B-194DB76337FE}" srcOrd="0" destOrd="3" presId="urn:microsoft.com/office/officeart/2005/8/layout/default"/>
    <dgm:cxn modelId="{A8886831-19B6-43B4-B5D3-2877E59E7D64}" type="presOf" srcId="{3AA7DF56-0DA0-4273-8CF7-88242FF73984}" destId="{5814FCBB-FBAA-4896-A02B-194DB76337FE}" srcOrd="0" destOrd="4" presId="urn:microsoft.com/office/officeart/2005/8/layout/default"/>
    <dgm:cxn modelId="{D06D1662-7AEF-4EE4-AA9D-4FEA4F676204}" type="presOf" srcId="{9C1D5A3C-FB11-4FDC-BF0E-2401F64AC0A0}" destId="{5814FCBB-FBAA-4896-A02B-194DB76337FE}" srcOrd="0" destOrd="1" presId="urn:microsoft.com/office/officeart/2005/8/layout/default"/>
    <dgm:cxn modelId="{22F8A643-14CC-43DF-89B2-39E44045C55C}" srcId="{B6A8120D-1EA6-4E71-BFF4-776C1B5B067B}" destId="{4FFF7EFB-F410-4458-86AD-AFBFD95F0754}" srcOrd="1" destOrd="0" parTransId="{E1D24B7C-2F46-4F42-8DBC-9EF6E935063D}" sibTransId="{90333515-C357-42C1-BFAD-66D277CDA19F}"/>
    <dgm:cxn modelId="{64316869-9AFA-4A1C-992A-3DC1D3DB40F4}" srcId="{B6A8120D-1EA6-4E71-BFF4-776C1B5B067B}" destId="{3AA7DF56-0DA0-4273-8CF7-88242FF73984}" srcOrd="3" destOrd="0" parTransId="{3D6CF7FF-785C-4AEB-80AC-4AEBE8A083B3}" sibTransId="{0615C66D-B7FC-473B-A735-F21032CB85C6}"/>
    <dgm:cxn modelId="{0BD1356B-541B-4D37-92B7-E4841CFA5EEE}" type="presOf" srcId="{790F6A32-F57A-49C8-B730-BF38D5BC1AAA}" destId="{5069A02C-A9CB-41F6-861D-C2637AAA5F7F}" srcOrd="0" destOrd="0" presId="urn:microsoft.com/office/officeart/2005/8/layout/default"/>
    <dgm:cxn modelId="{31970971-0D87-4530-B37B-CD7FE11F562D}" srcId="{B6A8120D-1EA6-4E71-BFF4-776C1B5B067B}" destId="{95BDE89C-BD87-4A85-ACB8-08979FE0C5E2}" srcOrd="5" destOrd="0" parTransId="{D616CF50-9F05-47F3-923D-69ED32DA5DB9}" sibTransId="{3076AB12-A4FA-4F61-AC23-C0F7A6034C84}"/>
    <dgm:cxn modelId="{0EF4B199-9BFF-4861-8CAB-3C661F50175E}" srcId="{790F6A32-F57A-49C8-B730-BF38D5BC1AAA}" destId="{B6A8120D-1EA6-4E71-BFF4-776C1B5B067B}" srcOrd="0" destOrd="0" parTransId="{6387FC1A-497F-44AE-A54C-94A1FF33AE7A}" sibTransId="{43EE4139-7AE5-4BF5-BE06-1D057121BCFE}"/>
    <dgm:cxn modelId="{667228C1-DE00-4318-8CA2-004738FFF29E}" type="presOf" srcId="{4FFF7EFB-F410-4458-86AD-AFBFD95F0754}" destId="{5814FCBB-FBAA-4896-A02B-194DB76337FE}" srcOrd="0" destOrd="2" presId="urn:microsoft.com/office/officeart/2005/8/layout/default"/>
    <dgm:cxn modelId="{B33D5ECF-E8D1-4A93-8AA3-0D85BE0D16A7}" srcId="{B6A8120D-1EA6-4E71-BFF4-776C1B5B067B}" destId="{992AF806-1EEB-485E-94CB-B1556A982CB7}" srcOrd="2" destOrd="0" parTransId="{81B8B014-A387-4F9F-8BD9-92020797C24B}" sibTransId="{5AB3DBA1-3F55-4A7E-BB51-3B41FACAE8DB}"/>
    <dgm:cxn modelId="{1BC127DA-DE00-4FB0-A012-19AF70025105}" type="presOf" srcId="{B6A8120D-1EA6-4E71-BFF4-776C1B5B067B}" destId="{5814FCBB-FBAA-4896-A02B-194DB76337FE}" srcOrd="0" destOrd="0" presId="urn:microsoft.com/office/officeart/2005/8/layout/default"/>
    <dgm:cxn modelId="{889694E4-3C83-44D0-B0A2-E35F8BB1D6BE}" srcId="{B6A8120D-1EA6-4E71-BFF4-776C1B5B067B}" destId="{DBBD8BD8-B20B-4388-B953-ECC9EB2D396D}" srcOrd="6" destOrd="0" parTransId="{0078CC82-2144-409C-A9C3-972E982F553A}" sibTransId="{18C45EB1-2020-4F8E-AA03-9C50389A1F86}"/>
    <dgm:cxn modelId="{3D6295EB-C29B-441C-ABCA-FA53A8C46C46}" srcId="{B6A8120D-1EA6-4E71-BFF4-776C1B5B067B}" destId="{9C1D5A3C-FB11-4FDC-BF0E-2401F64AC0A0}" srcOrd="0" destOrd="0" parTransId="{974A0C5B-439E-415C-9241-E9BA151D29D0}" sibTransId="{18FEEC6E-8DBD-45F9-9CE5-4B311B49808C}"/>
    <dgm:cxn modelId="{ABC634B1-C4CE-4414-851D-608B71A605F5}" type="presParOf" srcId="{5069A02C-A9CB-41F6-861D-C2637AAA5F7F}" destId="{5814FCBB-FBAA-4896-A02B-194DB76337FE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14FCBB-FBAA-4896-A02B-194DB76337FE}">
      <dsp:nvSpPr>
        <dsp:cNvPr id="0" name=""/>
        <dsp:cNvSpPr/>
      </dsp:nvSpPr>
      <dsp:spPr>
        <a:xfrm>
          <a:off x="0" y="1424509"/>
          <a:ext cx="5976938" cy="3586162"/>
        </a:xfrm>
        <a:prstGeom prst="rect">
          <a:avLst/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200" b="1" kern="1200"/>
            <a:t>Tettsteder:</a:t>
          </a:r>
          <a:endParaRPr lang="en-US" sz="32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Harestua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Grua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Roa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Gran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Brandbu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Jevnaker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500" b="1" kern="1200"/>
            <a:t>Bjoneroa</a:t>
          </a:r>
          <a:endParaRPr lang="en-US" sz="2500" kern="1200"/>
        </a:p>
      </dsp:txBody>
      <dsp:txXfrm>
        <a:off x="0" y="1424509"/>
        <a:ext cx="5976938" cy="35861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0AE3B3-F026-4ECB-966A-4F3A1F995771}" type="datetimeFigureOut">
              <a:rPr lang="en-GB" smtClean="0"/>
              <a:t>03/02/2026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EC5048-59E3-4065-97A9-4E29ABB5AA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898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C5048-59E3-4065-97A9-4E29ABB5AA3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91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D3620F-570B-8780-1C2A-2F455030E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67B3A7DD-E1B1-DFA5-577A-E45B7FCF0A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78C0872B-DCC9-B2A8-A35E-35FCFFFB83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C8D7F5C-0DB8-9AEC-08C3-CBF8A5535E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C5048-59E3-4065-97A9-4E29ABB5AA3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3022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ACFCE6-5CB6-86A6-ED0D-2D39FF0CE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2E9A5EA4-2D29-4107-93FC-90664127FD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8D0C9582-5D49-3EFB-047A-D3B4DA84D8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434D021-7909-0C5F-76D4-870E8C2DA3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C5048-59E3-4065-97A9-4E29ABB5AA3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4702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C5048-59E3-4065-97A9-4E29ABB5AA3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1994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E07F4-23D8-5522-873F-DE1AF3EB1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E8B9024A-AA50-1CBB-0C9B-C6F97733FD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C0E77CD9-806D-DDF8-6C73-5A60B111F7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F14E436-B3B3-E425-799C-B80339BE0C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C5048-59E3-4065-97A9-4E29ABB5AA3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584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178712-3260-F4C7-1AC8-8D57D84FC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096A2073-7862-3195-85C1-29D884A8F6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63B3B078-BE68-04C3-6618-B465DD6B02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3FE2D4F-E242-9F99-E66E-B0E1D081F7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C5048-59E3-4065-97A9-4E29ABB5AA3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9260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61584" y="5827586"/>
            <a:ext cx="5060009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580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5"/>
            <a:ext cx="6540926" cy="1248002"/>
          </a:xfrm>
        </p:spPr>
        <p:txBody>
          <a:bodyPr lIns="0" tIns="0" rIns="0" bIns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CA46529-D8FA-2331-4A54-2FD493D99E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54853" y="4057650"/>
            <a:ext cx="7106112" cy="188122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1098530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ed bil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31EE154A-3385-B9D2-D6D2-066EFEBEE64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82631" y="1911350"/>
            <a:ext cx="5524860" cy="41529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bilde 5">
            <a:extLst>
              <a:ext uri="{FF2B5EF4-FFF2-40B4-BE49-F238E27FC236}">
                <a16:creationId xmlns:a16="http://schemas.microsoft.com/office/drawing/2014/main" id="{56823147-B98B-0AE9-C885-BE4A78A2F173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191653" y="1911350"/>
            <a:ext cx="5524860" cy="41529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C097BBA5-8425-A3DA-73EF-13E5FD7D60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631" y="1441445"/>
            <a:ext cx="5524860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DCB6A94-6A38-29EC-4339-A705FBA532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1653" y="1441445"/>
            <a:ext cx="5524860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060222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9249" y="1484234"/>
            <a:ext cx="4540546" cy="396070"/>
          </a:xfrm>
        </p:spPr>
        <p:txBody>
          <a:bodyPr lIns="0" tIns="0" rIns="0" bIns="0">
            <a:spAutoFit/>
          </a:bodyPr>
          <a:lstStyle>
            <a:lvl1pPr>
              <a:lnSpc>
                <a:spcPts val="3250"/>
              </a:lnSpc>
              <a:defRPr sz="2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31EE154A-3385-B9D2-D6D2-066EFEBEE64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82632" y="476250"/>
            <a:ext cx="5181937" cy="5651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B7C29235-DDB1-B377-EFA0-CA255A5F35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09249" y="2388791"/>
            <a:ext cx="4540546" cy="373895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908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31EE154A-3385-B9D2-D6D2-066EFEBEE64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82632" y="1670050"/>
            <a:ext cx="3632436" cy="2730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C097BBA5-8425-A3DA-73EF-13E5FD7D60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32" y="4680771"/>
            <a:ext cx="3632436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Tittel bilde</a:t>
            </a:r>
          </a:p>
        </p:txBody>
      </p:sp>
      <p:sp>
        <p:nvSpPr>
          <p:cNvPr id="12" name="Plassholder for tekst 6">
            <a:extLst>
              <a:ext uri="{FF2B5EF4-FFF2-40B4-BE49-F238E27FC236}">
                <a16:creationId xmlns:a16="http://schemas.microsoft.com/office/drawing/2014/main" id="{3B133294-DE02-5C8A-8EA8-676C66CCDD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2632" y="5177106"/>
            <a:ext cx="3632436" cy="8727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5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bilde 5">
            <a:extLst>
              <a:ext uri="{FF2B5EF4-FFF2-40B4-BE49-F238E27FC236}">
                <a16:creationId xmlns:a16="http://schemas.microsoft.com/office/drawing/2014/main" id="{B39D2D0D-308E-ABD6-5BF9-EC622C730099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4273828" y="1670050"/>
            <a:ext cx="3632436" cy="2730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BF67D051-1C5B-3DEC-D393-8A5035DC7C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73828" y="4680771"/>
            <a:ext cx="3632436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Tittel bilde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85770396-4237-BC72-D0CB-3EEB0D27176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73828" y="5177106"/>
            <a:ext cx="3632436" cy="8727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5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bilde 5">
            <a:extLst>
              <a:ext uri="{FF2B5EF4-FFF2-40B4-BE49-F238E27FC236}">
                <a16:creationId xmlns:a16="http://schemas.microsoft.com/office/drawing/2014/main" id="{932B751C-123B-C36F-94F3-A878A476D2C5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8065025" y="1670050"/>
            <a:ext cx="3632436" cy="2730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7" name="Plassholder for tekst 6">
            <a:extLst>
              <a:ext uri="{FF2B5EF4-FFF2-40B4-BE49-F238E27FC236}">
                <a16:creationId xmlns:a16="http://schemas.microsoft.com/office/drawing/2014/main" id="{3E295BC1-B86F-C37B-257A-082F512489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5025" y="4680771"/>
            <a:ext cx="3632436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Tittel bilde</a:t>
            </a:r>
          </a:p>
        </p:txBody>
      </p:sp>
      <p:sp>
        <p:nvSpPr>
          <p:cNvPr id="18" name="Plassholder for tekst 6">
            <a:extLst>
              <a:ext uri="{FF2B5EF4-FFF2-40B4-BE49-F238E27FC236}">
                <a16:creationId xmlns:a16="http://schemas.microsoft.com/office/drawing/2014/main" id="{C398DA8D-8892-7092-65FC-8BA29430D1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5025" y="5177106"/>
            <a:ext cx="3632436" cy="8727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5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04712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BB9314E-30CE-32B6-DDE9-2AB87D591E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459971"/>
            <a:ext cx="3441924" cy="220093"/>
          </a:xfrm>
        </p:spPr>
        <p:txBody>
          <a:bodyPr lIns="0" tIns="0" rIns="0" bIns="0"/>
          <a:lstStyle>
            <a:lvl1pPr>
              <a:lnSpc>
                <a:spcPts val="1900"/>
              </a:lnSpc>
              <a:defRPr sz="1500">
                <a:solidFill>
                  <a:schemeClr val="lt1"/>
                </a:solidFill>
                <a:latin typeface="+mn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C93C86A-D0C7-CAC6-69AF-DF820F629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1" y="807641"/>
            <a:ext cx="10154311" cy="21272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791EB92A-F522-6442-D2B8-EF670832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22558" y="6381750"/>
            <a:ext cx="1577767" cy="1584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73030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BB9314E-30CE-32B6-DDE9-2AB87D591E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791EB92A-F522-6442-D2B8-EF670832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22558" y="6381750"/>
            <a:ext cx="1577767" cy="1584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948F69D-4C9B-1BB3-2380-94D9B81FE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228660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">
            <a:extLst>
              <a:ext uri="{FF2B5EF4-FFF2-40B4-BE49-F238E27FC236}">
                <a16:creationId xmlns:a16="http://schemas.microsoft.com/office/drawing/2014/main" id="{A8D65F5C-27DD-15DA-7C86-4B72B09EE08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832631" y="3448050"/>
            <a:ext cx="3359369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dk2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dk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2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791EB92A-F522-6442-D2B8-EF670832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22558" y="6381750"/>
            <a:ext cx="1577767" cy="1584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948F69D-4C9B-1BB3-2380-94D9B81FE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4397354" cy="2212144"/>
          </a:xfrm>
        </p:spPr>
        <p:txBody>
          <a:bodyPr lIns="0" tIns="0" rIns="0" bIns="0" anchor="t">
            <a:spAutoFit/>
          </a:bodyPr>
          <a:lstStyle>
            <a:lvl1pPr algn="l">
              <a:lnSpc>
                <a:spcPts val="5750"/>
              </a:lnSpc>
              <a:defRPr sz="50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DACF1581-AAB9-BED5-8B70-D1E56D50700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80407" y="0"/>
            <a:ext cx="3359369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bilde 1">
            <a:extLst>
              <a:ext uri="{FF2B5EF4-FFF2-40B4-BE49-F238E27FC236}">
                <a16:creationId xmlns:a16="http://schemas.microsoft.com/office/drawing/2014/main" id="{CBA06B23-00BE-3683-3317-9F1573D4176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39775" y="0"/>
            <a:ext cx="3352225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bilde 1">
            <a:extLst>
              <a:ext uri="{FF2B5EF4-FFF2-40B4-BE49-F238E27FC236}">
                <a16:creationId xmlns:a16="http://schemas.microsoft.com/office/drawing/2014/main" id="{9156F60F-F238-F48C-1E34-C476B9C355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80407" y="3448050"/>
            <a:ext cx="3352225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8578789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BB9314E-30CE-32B6-DDE9-2AB87D591E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4184650"/>
          </a:xfrm>
          <a:prstGeom prst="rect">
            <a:avLst/>
          </a:prstGeom>
          <a:noFill/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dk2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dk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2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C93C86A-D0C7-CAC6-69AF-DF820F629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1" y="4730712"/>
            <a:ext cx="10154311" cy="12248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77503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9249" y="1306399"/>
            <a:ext cx="4540546" cy="1248002"/>
          </a:xfrm>
        </p:spPr>
        <p:txBody>
          <a:bodyPr lIns="0" tIns="0" rIns="0" bIns="0">
            <a:spAutoFit/>
          </a:bodyPr>
          <a:lstStyle>
            <a:lvl1pPr>
              <a:lnSpc>
                <a:spcPts val="5000"/>
              </a:lnSpc>
              <a:defRPr sz="4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B7C29235-DDB1-B377-EFA0-CA255A5F35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09249" y="2470150"/>
            <a:ext cx="4540546" cy="321944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iagram 7">
            <a:extLst>
              <a:ext uri="{FF2B5EF4-FFF2-40B4-BE49-F238E27FC236}">
                <a16:creationId xmlns:a16="http://schemas.microsoft.com/office/drawing/2014/main" id="{7F621411-D3D8-B014-E4A6-900F19C0F0E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82632" y="1073150"/>
            <a:ext cx="5181937" cy="4616449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16635836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diagram 7">
            <a:extLst>
              <a:ext uri="{FF2B5EF4-FFF2-40B4-BE49-F238E27FC236}">
                <a16:creationId xmlns:a16="http://schemas.microsoft.com/office/drawing/2014/main" id="{7F621411-D3D8-B014-E4A6-900F19C0F0E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82632" y="1943100"/>
            <a:ext cx="5041435" cy="3746498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nb-NO"/>
              <a:t>Klikk ikonet for å legge til et diagram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F149B8E9-2898-EF9F-154C-ED341D6E0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6"/>
            <a:ext cx="10154311" cy="60680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iagram 7">
            <a:extLst>
              <a:ext uri="{FF2B5EF4-FFF2-40B4-BE49-F238E27FC236}">
                <a16:creationId xmlns:a16="http://schemas.microsoft.com/office/drawing/2014/main" id="{2979D8BA-CA32-1B09-1666-DAC9F1BDCC40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667935" y="1943100"/>
            <a:ext cx="5041434" cy="3746498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3342631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e 18">
            <a:extLst>
              <a:ext uri="{FF2B5EF4-FFF2-40B4-BE49-F238E27FC236}">
                <a16:creationId xmlns:a16="http://schemas.microsoft.com/office/drawing/2014/main" id="{7C815E34-AAB9-9CDF-3D68-6E991357698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12004" y="2711450"/>
            <a:ext cx="7967991" cy="800261"/>
            <a:chOff x="7452443" y="3248590"/>
            <a:chExt cx="10115578" cy="1016019"/>
          </a:xfrm>
        </p:grpSpPr>
        <p:sp>
          <p:nvSpPr>
            <p:cNvPr id="7" name="Frihåndsform: figur 6">
              <a:extLst>
                <a:ext uri="{FF2B5EF4-FFF2-40B4-BE49-F238E27FC236}">
                  <a16:creationId xmlns:a16="http://schemas.microsoft.com/office/drawing/2014/main" id="{21F862BE-967D-555A-DDB5-4BC69A2E88CD}"/>
                </a:ext>
              </a:extLst>
            </p:cNvPr>
            <p:cNvSpPr/>
            <p:nvPr/>
          </p:nvSpPr>
          <p:spPr>
            <a:xfrm>
              <a:off x="7452443" y="3248590"/>
              <a:ext cx="1371148" cy="1003564"/>
            </a:xfrm>
            <a:custGeom>
              <a:avLst/>
              <a:gdLst>
                <a:gd name="connsiteX0" fmla="*/ 1196007 w 1371148"/>
                <a:gd name="connsiteY0" fmla="*/ 30454 h 1003564"/>
                <a:gd name="connsiteX1" fmla="*/ 1030699 w 1371148"/>
                <a:gd name="connsiteY1" fmla="*/ 117018 h 1003564"/>
                <a:gd name="connsiteX2" fmla="*/ 900473 w 1371148"/>
                <a:gd name="connsiteY2" fmla="*/ 246596 h 1003564"/>
                <a:gd name="connsiteX3" fmla="*/ 825699 w 1371148"/>
                <a:gd name="connsiteY3" fmla="*/ 399400 h 1003564"/>
                <a:gd name="connsiteX4" fmla="*/ 560734 w 1371148"/>
                <a:gd name="connsiteY4" fmla="*/ 445378 h 1003564"/>
                <a:gd name="connsiteX5" fmla="*/ 310822 w 1371148"/>
                <a:gd name="connsiteY5" fmla="*/ 576320 h 1003564"/>
                <a:gd name="connsiteX6" fmla="*/ 113877 w 1371148"/>
                <a:gd name="connsiteY6" fmla="*/ 772375 h 1003564"/>
                <a:gd name="connsiteX7" fmla="*/ 0 w 1371148"/>
                <a:gd name="connsiteY7" fmla="*/ 1003564 h 1003564"/>
                <a:gd name="connsiteX8" fmla="*/ 659030 w 1371148"/>
                <a:gd name="connsiteY8" fmla="*/ 1003564 h 1003564"/>
                <a:gd name="connsiteX9" fmla="*/ 825699 w 1371148"/>
                <a:gd name="connsiteY9" fmla="*/ 399400 h 1003564"/>
                <a:gd name="connsiteX10" fmla="*/ 1261478 w 1371148"/>
                <a:gd name="connsiteY10" fmla="*/ 399400 h 1003564"/>
                <a:gd name="connsiteX11" fmla="*/ 1371149 w 1371148"/>
                <a:gd name="connsiteY11" fmla="*/ 0 h 1003564"/>
                <a:gd name="connsiteX12" fmla="*/ 1195950 w 1371148"/>
                <a:gd name="connsiteY12" fmla="*/ 30454 h 1003564"/>
                <a:gd name="connsiteX13" fmla="*/ 1196007 w 1371148"/>
                <a:gd name="connsiteY13" fmla="*/ 30454 h 10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1148" h="1003564">
                  <a:moveTo>
                    <a:pt x="1196007" y="30454"/>
                  </a:moveTo>
                  <a:cubicBezTo>
                    <a:pt x="1136876" y="50895"/>
                    <a:pt x="1081182" y="80046"/>
                    <a:pt x="1030699" y="117018"/>
                  </a:cubicBezTo>
                  <a:cubicBezTo>
                    <a:pt x="980871" y="153219"/>
                    <a:pt x="936967" y="196945"/>
                    <a:pt x="900473" y="246596"/>
                  </a:cubicBezTo>
                  <a:cubicBezTo>
                    <a:pt x="866579" y="292632"/>
                    <a:pt x="841224" y="344416"/>
                    <a:pt x="825699" y="399400"/>
                  </a:cubicBezTo>
                  <a:cubicBezTo>
                    <a:pt x="735462" y="400052"/>
                    <a:pt x="645936" y="415577"/>
                    <a:pt x="560734" y="445378"/>
                  </a:cubicBezTo>
                  <a:cubicBezTo>
                    <a:pt x="471326" y="476305"/>
                    <a:pt x="387135" y="520448"/>
                    <a:pt x="310822" y="576320"/>
                  </a:cubicBezTo>
                  <a:cubicBezTo>
                    <a:pt x="235457" y="631123"/>
                    <a:pt x="169038" y="697244"/>
                    <a:pt x="113877" y="772375"/>
                  </a:cubicBezTo>
                  <a:cubicBezTo>
                    <a:pt x="62330" y="841992"/>
                    <a:pt x="23759" y="920321"/>
                    <a:pt x="0" y="1003564"/>
                  </a:cubicBezTo>
                  <a:lnTo>
                    <a:pt x="659030" y="1003564"/>
                  </a:lnTo>
                  <a:lnTo>
                    <a:pt x="825699" y="399400"/>
                  </a:lnTo>
                  <a:lnTo>
                    <a:pt x="1261478" y="399400"/>
                  </a:lnTo>
                  <a:lnTo>
                    <a:pt x="1371149" y="0"/>
                  </a:lnTo>
                  <a:cubicBezTo>
                    <a:pt x="1311485" y="474"/>
                    <a:pt x="1252293" y="10724"/>
                    <a:pt x="1195950" y="30454"/>
                  </a:cubicBezTo>
                  <a:lnTo>
                    <a:pt x="1196007" y="30454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9" name="Frihåndsform: figur 8">
              <a:extLst>
                <a:ext uri="{FF2B5EF4-FFF2-40B4-BE49-F238E27FC236}">
                  <a16:creationId xmlns:a16="http://schemas.microsoft.com/office/drawing/2014/main" id="{B95C4808-90D7-D885-8B73-47DBB99CC05F}"/>
                </a:ext>
              </a:extLst>
            </p:cNvPr>
            <p:cNvSpPr/>
            <p:nvPr/>
          </p:nvSpPr>
          <p:spPr>
            <a:xfrm>
              <a:off x="9095229" y="3464092"/>
              <a:ext cx="758862" cy="800517"/>
            </a:xfrm>
            <a:custGeom>
              <a:avLst/>
              <a:gdLst>
                <a:gd name="connsiteX0" fmla="*/ 0 w 758862"/>
                <a:gd name="connsiteY0" fmla="*/ 400230 h 800517"/>
                <a:gd name="connsiteX1" fmla="*/ 394066 w 758862"/>
                <a:gd name="connsiteY1" fmla="*/ 0 h 800517"/>
                <a:gd name="connsiteX2" fmla="*/ 758862 w 758862"/>
                <a:gd name="connsiteY2" fmla="*/ 267808 h 800517"/>
                <a:gd name="connsiteX3" fmla="*/ 569561 w 758862"/>
                <a:gd name="connsiteY3" fmla="*/ 304778 h 800517"/>
                <a:gd name="connsiteX4" fmla="*/ 400227 w 758862"/>
                <a:gd name="connsiteY4" fmla="*/ 167794 h 800517"/>
                <a:gd name="connsiteX5" fmla="*/ 201684 w 758862"/>
                <a:gd name="connsiteY5" fmla="*/ 400230 h 800517"/>
                <a:gd name="connsiteX6" fmla="*/ 400227 w 758862"/>
                <a:gd name="connsiteY6" fmla="*/ 632666 h 800517"/>
                <a:gd name="connsiteX7" fmla="*/ 569561 w 758862"/>
                <a:gd name="connsiteY7" fmla="*/ 500302 h 800517"/>
                <a:gd name="connsiteX8" fmla="*/ 758862 w 758862"/>
                <a:gd name="connsiteY8" fmla="*/ 538812 h 800517"/>
                <a:gd name="connsiteX9" fmla="*/ 394066 w 758862"/>
                <a:gd name="connsiteY9" fmla="*/ 800517 h 800517"/>
                <a:gd name="connsiteX10" fmla="*/ 0 w 758862"/>
                <a:gd name="connsiteY10" fmla="*/ 400291 h 800517"/>
                <a:gd name="connsiteX11" fmla="*/ 0 w 758862"/>
                <a:gd name="connsiteY11" fmla="*/ 400230 h 80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862" h="800517">
                  <a:moveTo>
                    <a:pt x="0" y="400230"/>
                  </a:moveTo>
                  <a:cubicBezTo>
                    <a:pt x="0" y="163173"/>
                    <a:pt x="161629" y="0"/>
                    <a:pt x="394066" y="0"/>
                  </a:cubicBezTo>
                  <a:cubicBezTo>
                    <a:pt x="592608" y="0"/>
                    <a:pt x="732735" y="103153"/>
                    <a:pt x="758862" y="267808"/>
                  </a:cubicBezTo>
                  <a:lnTo>
                    <a:pt x="569561" y="304778"/>
                  </a:lnTo>
                  <a:cubicBezTo>
                    <a:pt x="555699" y="223194"/>
                    <a:pt x="491057" y="167794"/>
                    <a:pt x="400227" y="167794"/>
                  </a:cubicBezTo>
                  <a:cubicBezTo>
                    <a:pt x="280188" y="167794"/>
                    <a:pt x="201684" y="258624"/>
                    <a:pt x="201684" y="400230"/>
                  </a:cubicBezTo>
                  <a:cubicBezTo>
                    <a:pt x="201684" y="541836"/>
                    <a:pt x="280188" y="632666"/>
                    <a:pt x="400227" y="632666"/>
                  </a:cubicBezTo>
                  <a:cubicBezTo>
                    <a:pt x="491057" y="632666"/>
                    <a:pt x="551074" y="583427"/>
                    <a:pt x="569561" y="500302"/>
                  </a:cubicBezTo>
                  <a:lnTo>
                    <a:pt x="758862" y="538812"/>
                  </a:lnTo>
                  <a:cubicBezTo>
                    <a:pt x="729594" y="701986"/>
                    <a:pt x="589528" y="800517"/>
                    <a:pt x="394066" y="800517"/>
                  </a:cubicBezTo>
                  <a:cubicBezTo>
                    <a:pt x="161629" y="800517"/>
                    <a:pt x="0" y="637344"/>
                    <a:pt x="0" y="400291"/>
                  </a:cubicBezTo>
                  <a:lnTo>
                    <a:pt x="0" y="400230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0" name="Frihåndsform: figur 9">
              <a:extLst>
                <a:ext uri="{FF2B5EF4-FFF2-40B4-BE49-F238E27FC236}">
                  <a16:creationId xmlns:a16="http://schemas.microsoft.com/office/drawing/2014/main" id="{6772C737-6C55-B52B-8EDE-8BB72720EB6E}"/>
                </a:ext>
              </a:extLst>
            </p:cNvPr>
            <p:cNvSpPr/>
            <p:nvPr/>
          </p:nvSpPr>
          <p:spPr>
            <a:xfrm>
              <a:off x="9938647" y="3464092"/>
              <a:ext cx="809699" cy="800460"/>
            </a:xfrm>
            <a:custGeom>
              <a:avLst/>
              <a:gdLst>
                <a:gd name="connsiteX0" fmla="*/ 0 w 809699"/>
                <a:gd name="connsiteY0" fmla="*/ 400230 h 800460"/>
                <a:gd name="connsiteX1" fmla="*/ 404848 w 809699"/>
                <a:gd name="connsiteY1" fmla="*/ 0 h 800460"/>
                <a:gd name="connsiteX2" fmla="*/ 809699 w 809699"/>
                <a:gd name="connsiteY2" fmla="*/ 400230 h 800460"/>
                <a:gd name="connsiteX3" fmla="*/ 404848 w 809699"/>
                <a:gd name="connsiteY3" fmla="*/ 800460 h 800460"/>
                <a:gd name="connsiteX4" fmla="*/ 0 w 809699"/>
                <a:gd name="connsiteY4" fmla="*/ 400230 h 800460"/>
                <a:gd name="connsiteX5" fmla="*/ 614176 w 809699"/>
                <a:gd name="connsiteY5" fmla="*/ 400230 h 800460"/>
                <a:gd name="connsiteX6" fmla="*/ 404848 w 809699"/>
                <a:gd name="connsiteY6" fmla="*/ 167794 h 800460"/>
                <a:gd name="connsiteX7" fmla="*/ 195523 w 809699"/>
                <a:gd name="connsiteY7" fmla="*/ 400230 h 800460"/>
                <a:gd name="connsiteX8" fmla="*/ 404848 w 809699"/>
                <a:gd name="connsiteY8" fmla="*/ 632666 h 800460"/>
                <a:gd name="connsiteX9" fmla="*/ 614176 w 809699"/>
                <a:gd name="connsiteY9" fmla="*/ 400230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9699" h="800460">
                  <a:moveTo>
                    <a:pt x="0" y="400230"/>
                  </a:moveTo>
                  <a:cubicBezTo>
                    <a:pt x="0" y="169335"/>
                    <a:pt x="169335" y="0"/>
                    <a:pt x="404848" y="0"/>
                  </a:cubicBezTo>
                  <a:cubicBezTo>
                    <a:pt x="640364" y="0"/>
                    <a:pt x="809699" y="169335"/>
                    <a:pt x="809699" y="400230"/>
                  </a:cubicBezTo>
                  <a:cubicBezTo>
                    <a:pt x="809699" y="631126"/>
                    <a:pt x="640364" y="800460"/>
                    <a:pt x="404848" y="800460"/>
                  </a:cubicBezTo>
                  <a:cubicBezTo>
                    <a:pt x="169335" y="800460"/>
                    <a:pt x="0" y="631126"/>
                    <a:pt x="0" y="400230"/>
                  </a:cubicBezTo>
                  <a:close/>
                  <a:moveTo>
                    <a:pt x="614176" y="400230"/>
                  </a:moveTo>
                  <a:cubicBezTo>
                    <a:pt x="614176" y="261704"/>
                    <a:pt x="529511" y="167794"/>
                    <a:pt x="404848" y="167794"/>
                  </a:cubicBezTo>
                  <a:cubicBezTo>
                    <a:pt x="280188" y="167794"/>
                    <a:pt x="195523" y="261704"/>
                    <a:pt x="195523" y="400230"/>
                  </a:cubicBezTo>
                  <a:cubicBezTo>
                    <a:pt x="195523" y="538755"/>
                    <a:pt x="278648" y="632666"/>
                    <a:pt x="404848" y="632666"/>
                  </a:cubicBezTo>
                  <a:cubicBezTo>
                    <a:pt x="531051" y="632666"/>
                    <a:pt x="614176" y="538755"/>
                    <a:pt x="614176" y="400230"/>
                  </a:cubicBez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1" name="Frihåndsform: figur 10">
              <a:extLst>
                <a:ext uri="{FF2B5EF4-FFF2-40B4-BE49-F238E27FC236}">
                  <a16:creationId xmlns:a16="http://schemas.microsoft.com/office/drawing/2014/main" id="{84D419A0-16E5-7AE8-AB63-3D78AFFCC9DF}"/>
                </a:ext>
              </a:extLst>
            </p:cNvPr>
            <p:cNvSpPr/>
            <p:nvPr/>
          </p:nvSpPr>
          <p:spPr>
            <a:xfrm>
              <a:off x="10850844" y="3464092"/>
              <a:ext cx="723428" cy="788073"/>
            </a:xfrm>
            <a:custGeom>
              <a:avLst/>
              <a:gdLst>
                <a:gd name="connsiteX0" fmla="*/ 0 w 723428"/>
                <a:gd name="connsiteY0" fmla="*/ 12265 h 788073"/>
                <a:gd name="connsiteX1" fmla="*/ 193922 w 723428"/>
                <a:gd name="connsiteY1" fmla="*/ 12265 h 788073"/>
                <a:gd name="connsiteX2" fmla="*/ 193922 w 723428"/>
                <a:gd name="connsiteY2" fmla="*/ 129282 h 788073"/>
                <a:gd name="connsiteX3" fmla="*/ 440221 w 723428"/>
                <a:gd name="connsiteY3" fmla="*/ 0 h 788073"/>
                <a:gd name="connsiteX4" fmla="*/ 723428 w 723428"/>
                <a:gd name="connsiteY4" fmla="*/ 280130 h 788073"/>
                <a:gd name="connsiteX5" fmla="*/ 723428 w 723428"/>
                <a:gd name="connsiteY5" fmla="*/ 788073 h 788073"/>
                <a:gd name="connsiteX6" fmla="*/ 529511 w 723428"/>
                <a:gd name="connsiteY6" fmla="*/ 788073 h 788073"/>
                <a:gd name="connsiteX7" fmla="*/ 529511 w 723428"/>
                <a:gd name="connsiteY7" fmla="*/ 326285 h 788073"/>
                <a:gd name="connsiteX8" fmla="*/ 381744 w 723428"/>
                <a:gd name="connsiteY8" fmla="*/ 172357 h 788073"/>
                <a:gd name="connsiteX9" fmla="*/ 193922 w 723428"/>
                <a:gd name="connsiteY9" fmla="*/ 447868 h 788073"/>
                <a:gd name="connsiteX10" fmla="*/ 193922 w 723428"/>
                <a:gd name="connsiteY10" fmla="*/ 788073 h 788073"/>
                <a:gd name="connsiteX11" fmla="*/ 0 w 723428"/>
                <a:gd name="connsiteY11" fmla="*/ 788073 h 788073"/>
                <a:gd name="connsiteX12" fmla="*/ 0 w 723428"/>
                <a:gd name="connsiteY12" fmla="*/ 12265 h 7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28" h="788073">
                  <a:moveTo>
                    <a:pt x="0" y="12265"/>
                  </a:moveTo>
                  <a:lnTo>
                    <a:pt x="193922" y="12265"/>
                  </a:lnTo>
                  <a:lnTo>
                    <a:pt x="193922" y="129282"/>
                  </a:lnTo>
                  <a:cubicBezTo>
                    <a:pt x="243157" y="53858"/>
                    <a:pt x="330907" y="0"/>
                    <a:pt x="440221" y="0"/>
                  </a:cubicBezTo>
                  <a:cubicBezTo>
                    <a:pt x="609555" y="0"/>
                    <a:pt x="723428" y="110856"/>
                    <a:pt x="723428" y="280130"/>
                  </a:cubicBezTo>
                  <a:lnTo>
                    <a:pt x="723428" y="788073"/>
                  </a:lnTo>
                  <a:lnTo>
                    <a:pt x="529511" y="788073"/>
                  </a:lnTo>
                  <a:lnTo>
                    <a:pt x="529511" y="326285"/>
                  </a:lnTo>
                  <a:cubicBezTo>
                    <a:pt x="529511" y="235459"/>
                    <a:pt x="472570" y="172357"/>
                    <a:pt x="381744" y="172357"/>
                  </a:cubicBezTo>
                  <a:cubicBezTo>
                    <a:pt x="263242" y="172357"/>
                    <a:pt x="193922" y="273969"/>
                    <a:pt x="193922" y="447868"/>
                  </a:cubicBezTo>
                  <a:lnTo>
                    <a:pt x="193922" y="788073"/>
                  </a:lnTo>
                  <a:lnTo>
                    <a:pt x="0" y="788073"/>
                  </a:lnTo>
                  <a:lnTo>
                    <a:pt x="0" y="12265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2" name="Frihåndsform: figur 11">
              <a:extLst>
                <a:ext uri="{FF2B5EF4-FFF2-40B4-BE49-F238E27FC236}">
                  <a16:creationId xmlns:a16="http://schemas.microsoft.com/office/drawing/2014/main" id="{8EA457A3-7137-C295-10D0-74F52FDF4131}"/>
                </a:ext>
              </a:extLst>
            </p:cNvPr>
            <p:cNvSpPr/>
            <p:nvPr/>
          </p:nvSpPr>
          <p:spPr>
            <a:xfrm>
              <a:off x="11706719" y="3464092"/>
              <a:ext cx="723432" cy="788073"/>
            </a:xfrm>
            <a:custGeom>
              <a:avLst/>
              <a:gdLst>
                <a:gd name="connsiteX0" fmla="*/ 0 w 723432"/>
                <a:gd name="connsiteY0" fmla="*/ 12265 h 788073"/>
                <a:gd name="connsiteX1" fmla="*/ 193934 w 723432"/>
                <a:gd name="connsiteY1" fmla="*/ 12265 h 788073"/>
                <a:gd name="connsiteX2" fmla="*/ 193934 w 723432"/>
                <a:gd name="connsiteY2" fmla="*/ 129282 h 788073"/>
                <a:gd name="connsiteX3" fmla="*/ 440212 w 723432"/>
                <a:gd name="connsiteY3" fmla="*/ 0 h 788073"/>
                <a:gd name="connsiteX4" fmla="*/ 723433 w 723432"/>
                <a:gd name="connsiteY4" fmla="*/ 280130 h 788073"/>
                <a:gd name="connsiteX5" fmla="*/ 723433 w 723432"/>
                <a:gd name="connsiteY5" fmla="*/ 788073 h 788073"/>
                <a:gd name="connsiteX6" fmla="*/ 529499 w 723432"/>
                <a:gd name="connsiteY6" fmla="*/ 788073 h 788073"/>
                <a:gd name="connsiteX7" fmla="*/ 529499 w 723432"/>
                <a:gd name="connsiteY7" fmla="*/ 326285 h 788073"/>
                <a:gd name="connsiteX8" fmla="*/ 381731 w 723432"/>
                <a:gd name="connsiteY8" fmla="*/ 172357 h 788073"/>
                <a:gd name="connsiteX9" fmla="*/ 193934 w 723432"/>
                <a:gd name="connsiteY9" fmla="*/ 447868 h 788073"/>
                <a:gd name="connsiteX10" fmla="*/ 193934 w 723432"/>
                <a:gd name="connsiteY10" fmla="*/ 788073 h 788073"/>
                <a:gd name="connsiteX11" fmla="*/ 0 w 723432"/>
                <a:gd name="connsiteY11" fmla="*/ 788073 h 788073"/>
                <a:gd name="connsiteX12" fmla="*/ 0 w 723432"/>
                <a:gd name="connsiteY12" fmla="*/ 12265 h 7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32" h="788073">
                  <a:moveTo>
                    <a:pt x="0" y="12265"/>
                  </a:moveTo>
                  <a:lnTo>
                    <a:pt x="193934" y="12265"/>
                  </a:lnTo>
                  <a:lnTo>
                    <a:pt x="193934" y="129282"/>
                  </a:lnTo>
                  <a:cubicBezTo>
                    <a:pt x="243149" y="53858"/>
                    <a:pt x="330931" y="0"/>
                    <a:pt x="440212" y="0"/>
                  </a:cubicBezTo>
                  <a:cubicBezTo>
                    <a:pt x="609559" y="0"/>
                    <a:pt x="723433" y="110856"/>
                    <a:pt x="723433" y="280130"/>
                  </a:cubicBezTo>
                  <a:lnTo>
                    <a:pt x="723433" y="788073"/>
                  </a:lnTo>
                  <a:lnTo>
                    <a:pt x="529499" y="788073"/>
                  </a:lnTo>
                  <a:lnTo>
                    <a:pt x="529499" y="326285"/>
                  </a:lnTo>
                  <a:cubicBezTo>
                    <a:pt x="529499" y="235459"/>
                    <a:pt x="472562" y="172357"/>
                    <a:pt x="381731" y="172357"/>
                  </a:cubicBezTo>
                  <a:cubicBezTo>
                    <a:pt x="263266" y="172357"/>
                    <a:pt x="193934" y="273969"/>
                    <a:pt x="193934" y="447868"/>
                  </a:cubicBezTo>
                  <a:lnTo>
                    <a:pt x="193934" y="788073"/>
                  </a:lnTo>
                  <a:lnTo>
                    <a:pt x="0" y="788073"/>
                  </a:lnTo>
                  <a:lnTo>
                    <a:pt x="0" y="12265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3" name="Frihåndsform: figur 12">
              <a:extLst>
                <a:ext uri="{FF2B5EF4-FFF2-40B4-BE49-F238E27FC236}">
                  <a16:creationId xmlns:a16="http://schemas.microsoft.com/office/drawing/2014/main" id="{5E76CF7E-69C9-3A6A-9858-B95B7B619047}"/>
                </a:ext>
              </a:extLst>
            </p:cNvPr>
            <p:cNvSpPr/>
            <p:nvPr/>
          </p:nvSpPr>
          <p:spPr>
            <a:xfrm>
              <a:off x="12532930" y="3464092"/>
              <a:ext cx="772728" cy="800460"/>
            </a:xfrm>
            <a:custGeom>
              <a:avLst/>
              <a:gdLst>
                <a:gd name="connsiteX0" fmla="*/ 769600 w 772728"/>
                <a:gd name="connsiteY0" fmla="*/ 451005 h 800460"/>
                <a:gd name="connsiteX1" fmla="*/ 193934 w 772728"/>
                <a:gd name="connsiteY1" fmla="*/ 451005 h 800460"/>
                <a:gd name="connsiteX2" fmla="*/ 397094 w 772728"/>
                <a:gd name="connsiteY2" fmla="*/ 637287 h 800460"/>
                <a:gd name="connsiteX3" fmla="*/ 572577 w 772728"/>
                <a:gd name="connsiteY3" fmla="*/ 518789 h 800460"/>
                <a:gd name="connsiteX4" fmla="*/ 754238 w 772728"/>
                <a:gd name="connsiteY4" fmla="*/ 568024 h 800460"/>
                <a:gd name="connsiteX5" fmla="*/ 394086 w 772728"/>
                <a:gd name="connsiteY5" fmla="*/ 800460 h 800460"/>
                <a:gd name="connsiteX6" fmla="*/ 0 w 772728"/>
                <a:gd name="connsiteY6" fmla="*/ 400230 h 800460"/>
                <a:gd name="connsiteX7" fmla="*/ 383275 w 772728"/>
                <a:gd name="connsiteY7" fmla="*/ 0 h 800460"/>
                <a:gd name="connsiteX8" fmla="*/ 772729 w 772728"/>
                <a:gd name="connsiteY8" fmla="*/ 374041 h 800460"/>
                <a:gd name="connsiteX9" fmla="*/ 769640 w 772728"/>
                <a:gd name="connsiteY9" fmla="*/ 451005 h 800460"/>
                <a:gd name="connsiteX10" fmla="*/ 769600 w 772728"/>
                <a:gd name="connsiteY10" fmla="*/ 451005 h 800460"/>
                <a:gd name="connsiteX11" fmla="*/ 564896 w 772728"/>
                <a:gd name="connsiteY11" fmla="*/ 309399 h 800460"/>
                <a:gd name="connsiteX12" fmla="*/ 383235 w 772728"/>
                <a:gd name="connsiteY12" fmla="*/ 147768 h 800460"/>
                <a:gd name="connsiteX13" fmla="*/ 198486 w 772728"/>
                <a:gd name="connsiteY13" fmla="*/ 309399 h 800460"/>
                <a:gd name="connsiteX14" fmla="*/ 564815 w 772728"/>
                <a:gd name="connsiteY14" fmla="*/ 309399 h 800460"/>
                <a:gd name="connsiteX15" fmla="*/ 564896 w 772728"/>
                <a:gd name="connsiteY15" fmla="*/ 309399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2728" h="800460">
                  <a:moveTo>
                    <a:pt x="769600" y="451005"/>
                  </a:moveTo>
                  <a:lnTo>
                    <a:pt x="193934" y="451005"/>
                  </a:lnTo>
                  <a:cubicBezTo>
                    <a:pt x="210881" y="568024"/>
                    <a:pt x="286309" y="637287"/>
                    <a:pt x="397094" y="637287"/>
                  </a:cubicBezTo>
                  <a:cubicBezTo>
                    <a:pt x="487924" y="637287"/>
                    <a:pt x="552582" y="594213"/>
                    <a:pt x="572577" y="518789"/>
                  </a:cubicBezTo>
                  <a:lnTo>
                    <a:pt x="754238" y="568024"/>
                  </a:lnTo>
                  <a:cubicBezTo>
                    <a:pt x="711159" y="714251"/>
                    <a:pt x="575666" y="800460"/>
                    <a:pt x="394086" y="800460"/>
                  </a:cubicBezTo>
                  <a:cubicBezTo>
                    <a:pt x="136997" y="800460"/>
                    <a:pt x="0" y="601914"/>
                    <a:pt x="0" y="400230"/>
                  </a:cubicBezTo>
                  <a:cubicBezTo>
                    <a:pt x="0" y="198546"/>
                    <a:pt x="126228" y="0"/>
                    <a:pt x="383275" y="0"/>
                  </a:cubicBezTo>
                  <a:cubicBezTo>
                    <a:pt x="640364" y="0"/>
                    <a:pt x="772729" y="193925"/>
                    <a:pt x="772729" y="374041"/>
                  </a:cubicBezTo>
                  <a:cubicBezTo>
                    <a:pt x="772729" y="401770"/>
                    <a:pt x="771185" y="435603"/>
                    <a:pt x="769640" y="451005"/>
                  </a:cubicBezTo>
                  <a:lnTo>
                    <a:pt x="769600" y="451005"/>
                  </a:lnTo>
                  <a:close/>
                  <a:moveTo>
                    <a:pt x="564896" y="309399"/>
                  </a:moveTo>
                  <a:cubicBezTo>
                    <a:pt x="555630" y="217029"/>
                    <a:pt x="495645" y="147768"/>
                    <a:pt x="383235" y="147768"/>
                  </a:cubicBezTo>
                  <a:cubicBezTo>
                    <a:pt x="287772" y="147768"/>
                    <a:pt x="220066" y="204707"/>
                    <a:pt x="198486" y="309399"/>
                  </a:cubicBezTo>
                  <a:lnTo>
                    <a:pt x="564815" y="309399"/>
                  </a:lnTo>
                  <a:lnTo>
                    <a:pt x="564896" y="309399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4" name="Frihåndsform: figur 13">
              <a:extLst>
                <a:ext uri="{FF2B5EF4-FFF2-40B4-BE49-F238E27FC236}">
                  <a16:creationId xmlns:a16="http://schemas.microsoft.com/office/drawing/2014/main" id="{9576EDA1-1278-DCD3-578B-5270D5196CD7}"/>
                </a:ext>
              </a:extLst>
            </p:cNvPr>
            <p:cNvSpPr/>
            <p:nvPr/>
          </p:nvSpPr>
          <p:spPr>
            <a:xfrm>
              <a:off x="13390475" y="3464092"/>
              <a:ext cx="758870" cy="800517"/>
            </a:xfrm>
            <a:custGeom>
              <a:avLst/>
              <a:gdLst>
                <a:gd name="connsiteX0" fmla="*/ 0 w 758870"/>
                <a:gd name="connsiteY0" fmla="*/ 400230 h 800517"/>
                <a:gd name="connsiteX1" fmla="*/ 394045 w 758870"/>
                <a:gd name="connsiteY1" fmla="*/ 0 h 800517"/>
                <a:gd name="connsiteX2" fmla="*/ 758870 w 758870"/>
                <a:gd name="connsiteY2" fmla="*/ 267808 h 800517"/>
                <a:gd name="connsiteX3" fmla="*/ 569570 w 758870"/>
                <a:gd name="connsiteY3" fmla="*/ 304778 h 800517"/>
                <a:gd name="connsiteX4" fmla="*/ 400222 w 758870"/>
                <a:gd name="connsiteY4" fmla="*/ 167794 h 800517"/>
                <a:gd name="connsiteX5" fmla="*/ 201696 w 758870"/>
                <a:gd name="connsiteY5" fmla="*/ 400230 h 800517"/>
                <a:gd name="connsiteX6" fmla="*/ 400222 w 758870"/>
                <a:gd name="connsiteY6" fmla="*/ 632666 h 800517"/>
                <a:gd name="connsiteX7" fmla="*/ 569570 w 758870"/>
                <a:gd name="connsiteY7" fmla="*/ 500302 h 800517"/>
                <a:gd name="connsiteX8" fmla="*/ 758870 w 758870"/>
                <a:gd name="connsiteY8" fmla="*/ 538812 h 800517"/>
                <a:gd name="connsiteX9" fmla="*/ 394045 w 758870"/>
                <a:gd name="connsiteY9" fmla="*/ 800517 h 800517"/>
                <a:gd name="connsiteX10" fmla="*/ 0 w 758870"/>
                <a:gd name="connsiteY10" fmla="*/ 400291 h 800517"/>
                <a:gd name="connsiteX11" fmla="*/ 0 w 758870"/>
                <a:gd name="connsiteY11" fmla="*/ 400230 h 80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870" h="800517">
                  <a:moveTo>
                    <a:pt x="0" y="400230"/>
                  </a:moveTo>
                  <a:cubicBezTo>
                    <a:pt x="0" y="163173"/>
                    <a:pt x="161625" y="0"/>
                    <a:pt x="394045" y="0"/>
                  </a:cubicBezTo>
                  <a:cubicBezTo>
                    <a:pt x="592612" y="0"/>
                    <a:pt x="732739" y="103153"/>
                    <a:pt x="758870" y="267808"/>
                  </a:cubicBezTo>
                  <a:lnTo>
                    <a:pt x="569570" y="304778"/>
                  </a:lnTo>
                  <a:cubicBezTo>
                    <a:pt x="555711" y="223194"/>
                    <a:pt x="491053" y="167794"/>
                    <a:pt x="400222" y="167794"/>
                  </a:cubicBezTo>
                  <a:cubicBezTo>
                    <a:pt x="280172" y="167794"/>
                    <a:pt x="201696" y="258624"/>
                    <a:pt x="201696" y="400230"/>
                  </a:cubicBezTo>
                  <a:cubicBezTo>
                    <a:pt x="201696" y="541836"/>
                    <a:pt x="280172" y="632666"/>
                    <a:pt x="400222" y="632666"/>
                  </a:cubicBezTo>
                  <a:cubicBezTo>
                    <a:pt x="491053" y="632666"/>
                    <a:pt x="551078" y="583427"/>
                    <a:pt x="569570" y="500302"/>
                  </a:cubicBezTo>
                  <a:lnTo>
                    <a:pt x="758870" y="538812"/>
                  </a:lnTo>
                  <a:cubicBezTo>
                    <a:pt x="729569" y="701986"/>
                    <a:pt x="589524" y="800517"/>
                    <a:pt x="394045" y="800517"/>
                  </a:cubicBezTo>
                  <a:cubicBezTo>
                    <a:pt x="161625" y="800517"/>
                    <a:pt x="0" y="637344"/>
                    <a:pt x="0" y="400291"/>
                  </a:cubicBezTo>
                  <a:lnTo>
                    <a:pt x="0" y="400230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5" name="Frihåndsform: figur 14">
              <a:extLst>
                <a:ext uri="{FF2B5EF4-FFF2-40B4-BE49-F238E27FC236}">
                  <a16:creationId xmlns:a16="http://schemas.microsoft.com/office/drawing/2014/main" id="{8CFE373D-EE51-8A5F-2B5B-735840F78F68}"/>
                </a:ext>
              </a:extLst>
            </p:cNvPr>
            <p:cNvSpPr/>
            <p:nvPr/>
          </p:nvSpPr>
          <p:spPr>
            <a:xfrm>
              <a:off x="14204575" y="3248590"/>
              <a:ext cx="515639" cy="1015890"/>
            </a:xfrm>
            <a:custGeom>
              <a:avLst/>
              <a:gdLst>
                <a:gd name="connsiteX0" fmla="*/ 404774 w 515639"/>
                <a:gd name="connsiteY0" fmla="*/ 1015890 h 1015890"/>
                <a:gd name="connsiteX1" fmla="*/ 130820 w 515639"/>
                <a:gd name="connsiteY1" fmla="*/ 749621 h 1015890"/>
                <a:gd name="connsiteX2" fmla="*/ 130820 w 515639"/>
                <a:gd name="connsiteY2" fmla="*/ 390986 h 1015890"/>
                <a:gd name="connsiteX3" fmla="*/ 0 w 515639"/>
                <a:gd name="connsiteY3" fmla="*/ 390986 h 1015890"/>
                <a:gd name="connsiteX4" fmla="*/ 0 w 515639"/>
                <a:gd name="connsiteY4" fmla="*/ 227814 h 1015890"/>
                <a:gd name="connsiteX5" fmla="*/ 130820 w 515639"/>
                <a:gd name="connsiteY5" fmla="*/ 227814 h 1015890"/>
                <a:gd name="connsiteX6" fmla="*/ 130820 w 515639"/>
                <a:gd name="connsiteY6" fmla="*/ 0 h 1015890"/>
                <a:gd name="connsiteX7" fmla="*/ 324754 w 515639"/>
                <a:gd name="connsiteY7" fmla="*/ 0 h 1015890"/>
                <a:gd name="connsiteX8" fmla="*/ 324754 w 515639"/>
                <a:gd name="connsiteY8" fmla="*/ 227814 h 1015890"/>
                <a:gd name="connsiteX9" fmla="*/ 515518 w 515639"/>
                <a:gd name="connsiteY9" fmla="*/ 227814 h 1015890"/>
                <a:gd name="connsiteX10" fmla="*/ 515518 w 515639"/>
                <a:gd name="connsiteY10" fmla="*/ 390986 h 1015890"/>
                <a:gd name="connsiteX11" fmla="*/ 324754 w 515639"/>
                <a:gd name="connsiteY11" fmla="*/ 390986 h 1015890"/>
                <a:gd name="connsiteX12" fmla="*/ 324754 w 515639"/>
                <a:gd name="connsiteY12" fmla="*/ 731138 h 1015890"/>
                <a:gd name="connsiteX13" fmla="*/ 424810 w 515639"/>
                <a:gd name="connsiteY13" fmla="*/ 845072 h 1015890"/>
                <a:gd name="connsiteX14" fmla="*/ 515640 w 515639"/>
                <a:gd name="connsiteY14" fmla="*/ 826589 h 1015890"/>
                <a:gd name="connsiteX15" fmla="*/ 515518 w 515639"/>
                <a:gd name="connsiteY15" fmla="*/ 1000484 h 1015890"/>
                <a:gd name="connsiteX16" fmla="*/ 404774 w 515639"/>
                <a:gd name="connsiteY16" fmla="*/ 101589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5639" h="1015890">
                  <a:moveTo>
                    <a:pt x="404774" y="1015890"/>
                  </a:moveTo>
                  <a:cubicBezTo>
                    <a:pt x="247782" y="1015890"/>
                    <a:pt x="130820" y="931221"/>
                    <a:pt x="130820" y="749621"/>
                  </a:cubicBezTo>
                  <a:lnTo>
                    <a:pt x="130820" y="390986"/>
                  </a:lnTo>
                  <a:lnTo>
                    <a:pt x="0" y="390986"/>
                  </a:lnTo>
                  <a:lnTo>
                    <a:pt x="0" y="227814"/>
                  </a:lnTo>
                  <a:lnTo>
                    <a:pt x="130820" y="227814"/>
                  </a:lnTo>
                  <a:lnTo>
                    <a:pt x="130820" y="0"/>
                  </a:lnTo>
                  <a:lnTo>
                    <a:pt x="324754" y="0"/>
                  </a:lnTo>
                  <a:lnTo>
                    <a:pt x="324754" y="227814"/>
                  </a:lnTo>
                  <a:lnTo>
                    <a:pt x="515518" y="227814"/>
                  </a:lnTo>
                  <a:lnTo>
                    <a:pt x="515518" y="390986"/>
                  </a:lnTo>
                  <a:lnTo>
                    <a:pt x="324754" y="390986"/>
                  </a:lnTo>
                  <a:lnTo>
                    <a:pt x="324754" y="731138"/>
                  </a:lnTo>
                  <a:cubicBezTo>
                    <a:pt x="324754" y="805022"/>
                    <a:pt x="364744" y="845072"/>
                    <a:pt x="424810" y="845072"/>
                  </a:cubicBezTo>
                  <a:cubicBezTo>
                    <a:pt x="454070" y="845072"/>
                    <a:pt x="487924" y="840452"/>
                    <a:pt x="515640" y="826589"/>
                  </a:cubicBezTo>
                  <a:lnTo>
                    <a:pt x="515518" y="1000484"/>
                  </a:lnTo>
                  <a:cubicBezTo>
                    <a:pt x="476138" y="1011981"/>
                    <a:pt x="449478" y="1015890"/>
                    <a:pt x="404774" y="1015890"/>
                  </a:cubicBez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6" name="Frihåndsform: figur 15">
              <a:extLst>
                <a:ext uri="{FF2B5EF4-FFF2-40B4-BE49-F238E27FC236}">
                  <a16:creationId xmlns:a16="http://schemas.microsoft.com/office/drawing/2014/main" id="{A03EFA0C-58F5-E13A-E3F1-917FEC86F53D}"/>
                </a:ext>
              </a:extLst>
            </p:cNvPr>
            <p:cNvSpPr/>
            <p:nvPr/>
          </p:nvSpPr>
          <p:spPr>
            <a:xfrm>
              <a:off x="15237847" y="3248590"/>
              <a:ext cx="785001" cy="1015947"/>
            </a:xfrm>
            <a:custGeom>
              <a:avLst/>
              <a:gdLst>
                <a:gd name="connsiteX0" fmla="*/ 193934 w 785001"/>
                <a:gd name="connsiteY0" fmla="*/ 914335 h 1015947"/>
                <a:gd name="connsiteX1" fmla="*/ 193934 w 785001"/>
                <a:gd name="connsiteY1" fmla="*/ 1003625 h 1015947"/>
                <a:gd name="connsiteX2" fmla="*/ 0 w 785001"/>
                <a:gd name="connsiteY2" fmla="*/ 1003625 h 1015947"/>
                <a:gd name="connsiteX3" fmla="*/ 0 w 785001"/>
                <a:gd name="connsiteY3" fmla="*/ 0 h 1015947"/>
                <a:gd name="connsiteX4" fmla="*/ 193934 w 785001"/>
                <a:gd name="connsiteY4" fmla="*/ 0 h 1015947"/>
                <a:gd name="connsiteX5" fmla="*/ 193934 w 785001"/>
                <a:gd name="connsiteY5" fmla="*/ 314022 h 1015947"/>
                <a:gd name="connsiteX6" fmla="*/ 418632 w 785001"/>
                <a:gd name="connsiteY6" fmla="*/ 215490 h 1015947"/>
                <a:gd name="connsiteX7" fmla="*/ 785002 w 785001"/>
                <a:gd name="connsiteY7" fmla="*/ 615720 h 1015947"/>
                <a:gd name="connsiteX8" fmla="*/ 415585 w 785001"/>
                <a:gd name="connsiteY8" fmla="*/ 1015947 h 1015947"/>
                <a:gd name="connsiteX9" fmla="*/ 193934 w 785001"/>
                <a:gd name="connsiteY9" fmla="*/ 914335 h 1015947"/>
                <a:gd name="connsiteX10" fmla="*/ 592612 w 785001"/>
                <a:gd name="connsiteY10" fmla="*/ 615720 h 1015947"/>
                <a:gd name="connsiteX11" fmla="*/ 387909 w 785001"/>
                <a:gd name="connsiteY11" fmla="*/ 383284 h 1015947"/>
                <a:gd name="connsiteX12" fmla="*/ 181660 w 785001"/>
                <a:gd name="connsiteY12" fmla="*/ 615720 h 1015947"/>
                <a:gd name="connsiteX13" fmla="*/ 387909 w 785001"/>
                <a:gd name="connsiteY13" fmla="*/ 848153 h 1015947"/>
                <a:gd name="connsiteX14" fmla="*/ 592612 w 785001"/>
                <a:gd name="connsiteY14" fmla="*/ 615720 h 1015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5001" h="1015947">
                  <a:moveTo>
                    <a:pt x="193934" y="914335"/>
                  </a:moveTo>
                  <a:lnTo>
                    <a:pt x="193934" y="1003625"/>
                  </a:lnTo>
                  <a:lnTo>
                    <a:pt x="0" y="1003625"/>
                  </a:lnTo>
                  <a:lnTo>
                    <a:pt x="0" y="0"/>
                  </a:lnTo>
                  <a:lnTo>
                    <a:pt x="193934" y="0"/>
                  </a:lnTo>
                  <a:lnTo>
                    <a:pt x="193934" y="314022"/>
                  </a:lnTo>
                  <a:cubicBezTo>
                    <a:pt x="238516" y="255542"/>
                    <a:pt x="321665" y="215490"/>
                    <a:pt x="418632" y="215490"/>
                  </a:cubicBezTo>
                  <a:cubicBezTo>
                    <a:pt x="648004" y="215490"/>
                    <a:pt x="785002" y="378662"/>
                    <a:pt x="785002" y="615720"/>
                  </a:cubicBezTo>
                  <a:cubicBezTo>
                    <a:pt x="785002" y="852778"/>
                    <a:pt x="648004" y="1015947"/>
                    <a:pt x="415585" y="1015947"/>
                  </a:cubicBezTo>
                  <a:cubicBezTo>
                    <a:pt x="320121" y="1015947"/>
                    <a:pt x="232379" y="975953"/>
                    <a:pt x="193934" y="914335"/>
                  </a:cubicBezTo>
                  <a:close/>
                  <a:moveTo>
                    <a:pt x="592612" y="615720"/>
                  </a:moveTo>
                  <a:cubicBezTo>
                    <a:pt x="592612" y="475655"/>
                    <a:pt x="511007" y="383284"/>
                    <a:pt x="387909" y="383284"/>
                  </a:cubicBezTo>
                  <a:cubicBezTo>
                    <a:pt x="264770" y="383284"/>
                    <a:pt x="181660" y="475655"/>
                    <a:pt x="181660" y="615720"/>
                  </a:cubicBezTo>
                  <a:cubicBezTo>
                    <a:pt x="181660" y="755786"/>
                    <a:pt x="263225" y="848153"/>
                    <a:pt x="387909" y="848153"/>
                  </a:cubicBezTo>
                  <a:cubicBezTo>
                    <a:pt x="512552" y="848153"/>
                    <a:pt x="592612" y="755786"/>
                    <a:pt x="592612" y="615720"/>
                  </a:cubicBez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7" name="Frihåndsform: figur 16">
              <a:extLst>
                <a:ext uri="{FF2B5EF4-FFF2-40B4-BE49-F238E27FC236}">
                  <a16:creationId xmlns:a16="http://schemas.microsoft.com/office/drawing/2014/main" id="{1B57FB1D-4B68-D7E7-1F56-3F5B6CADC15D}"/>
                </a:ext>
              </a:extLst>
            </p:cNvPr>
            <p:cNvSpPr/>
            <p:nvPr/>
          </p:nvSpPr>
          <p:spPr>
            <a:xfrm>
              <a:off x="16115630" y="3476396"/>
              <a:ext cx="723432" cy="788132"/>
            </a:xfrm>
            <a:custGeom>
              <a:avLst/>
              <a:gdLst>
                <a:gd name="connsiteX0" fmla="*/ 723432 w 723432"/>
                <a:gd name="connsiteY0" fmla="*/ 775811 h 788132"/>
                <a:gd name="connsiteX1" fmla="*/ 529498 w 723432"/>
                <a:gd name="connsiteY1" fmla="*/ 775811 h 788132"/>
                <a:gd name="connsiteX2" fmla="*/ 529498 w 723432"/>
                <a:gd name="connsiteY2" fmla="*/ 658853 h 788132"/>
                <a:gd name="connsiteX3" fmla="*/ 283220 w 723432"/>
                <a:gd name="connsiteY3" fmla="*/ 788133 h 788132"/>
                <a:gd name="connsiteX4" fmla="*/ 0 w 723432"/>
                <a:gd name="connsiteY4" fmla="*/ 508005 h 788132"/>
                <a:gd name="connsiteX5" fmla="*/ 0 w 723432"/>
                <a:gd name="connsiteY5" fmla="*/ 0 h 788132"/>
                <a:gd name="connsiteX6" fmla="*/ 193934 w 723432"/>
                <a:gd name="connsiteY6" fmla="*/ 0 h 788132"/>
                <a:gd name="connsiteX7" fmla="*/ 193934 w 723432"/>
                <a:gd name="connsiteY7" fmla="*/ 461789 h 788132"/>
                <a:gd name="connsiteX8" fmla="*/ 341701 w 723432"/>
                <a:gd name="connsiteY8" fmla="*/ 615718 h 788132"/>
                <a:gd name="connsiteX9" fmla="*/ 529498 w 723432"/>
                <a:gd name="connsiteY9" fmla="*/ 340211 h 788132"/>
                <a:gd name="connsiteX10" fmla="*/ 529498 w 723432"/>
                <a:gd name="connsiteY10" fmla="*/ 0 h 788132"/>
                <a:gd name="connsiteX11" fmla="*/ 723432 w 723432"/>
                <a:gd name="connsiteY11" fmla="*/ 0 h 788132"/>
                <a:gd name="connsiteX12" fmla="*/ 723432 w 723432"/>
                <a:gd name="connsiteY12" fmla="*/ 775811 h 78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32" h="788132">
                  <a:moveTo>
                    <a:pt x="723432" y="775811"/>
                  </a:moveTo>
                  <a:lnTo>
                    <a:pt x="529498" y="775811"/>
                  </a:lnTo>
                  <a:lnTo>
                    <a:pt x="529498" y="658853"/>
                  </a:lnTo>
                  <a:cubicBezTo>
                    <a:pt x="480283" y="734277"/>
                    <a:pt x="392542" y="788133"/>
                    <a:pt x="283220" y="788133"/>
                  </a:cubicBezTo>
                  <a:cubicBezTo>
                    <a:pt x="115417" y="788133"/>
                    <a:pt x="0" y="677279"/>
                    <a:pt x="0" y="508005"/>
                  </a:cubicBezTo>
                  <a:lnTo>
                    <a:pt x="0" y="0"/>
                  </a:lnTo>
                  <a:lnTo>
                    <a:pt x="193934" y="0"/>
                  </a:lnTo>
                  <a:lnTo>
                    <a:pt x="193934" y="461789"/>
                  </a:lnTo>
                  <a:cubicBezTo>
                    <a:pt x="193934" y="552620"/>
                    <a:pt x="250870" y="615718"/>
                    <a:pt x="341701" y="615718"/>
                  </a:cubicBezTo>
                  <a:cubicBezTo>
                    <a:pt x="461711" y="615718"/>
                    <a:pt x="529498" y="514105"/>
                    <a:pt x="529498" y="340211"/>
                  </a:cubicBezTo>
                  <a:lnTo>
                    <a:pt x="529498" y="0"/>
                  </a:lnTo>
                  <a:lnTo>
                    <a:pt x="723432" y="0"/>
                  </a:lnTo>
                  <a:lnTo>
                    <a:pt x="723432" y="775811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8" name="Frihåndsform: figur 17">
              <a:extLst>
                <a:ext uri="{FF2B5EF4-FFF2-40B4-BE49-F238E27FC236}">
                  <a16:creationId xmlns:a16="http://schemas.microsoft.com/office/drawing/2014/main" id="{85CBBEDA-71B1-4F02-5F8E-6740D0350907}"/>
                </a:ext>
              </a:extLst>
            </p:cNvPr>
            <p:cNvSpPr/>
            <p:nvPr/>
          </p:nvSpPr>
          <p:spPr>
            <a:xfrm>
              <a:off x="16930827" y="3464092"/>
              <a:ext cx="637194" cy="800460"/>
            </a:xfrm>
            <a:custGeom>
              <a:avLst/>
              <a:gdLst>
                <a:gd name="connsiteX0" fmla="*/ 0 w 637194"/>
                <a:gd name="connsiteY0" fmla="*/ 571044 h 800460"/>
                <a:gd name="connsiteX1" fmla="*/ 158537 w 637194"/>
                <a:gd name="connsiteY1" fmla="*/ 506406 h 800460"/>
                <a:gd name="connsiteX2" fmla="*/ 338653 w 637194"/>
                <a:gd name="connsiteY2" fmla="*/ 649552 h 800460"/>
                <a:gd name="connsiteX3" fmla="*/ 458704 w 637194"/>
                <a:gd name="connsiteY3" fmla="*/ 561802 h 800460"/>
                <a:gd name="connsiteX4" fmla="*/ 35398 w 637194"/>
                <a:gd name="connsiteY4" fmla="*/ 217029 h 800460"/>
                <a:gd name="connsiteX5" fmla="*/ 310937 w 637194"/>
                <a:gd name="connsiteY5" fmla="*/ 0 h 800460"/>
                <a:gd name="connsiteX6" fmla="*/ 623417 w 637194"/>
                <a:gd name="connsiteY6" fmla="*/ 189361 h 800460"/>
                <a:gd name="connsiteX7" fmla="*/ 466385 w 637194"/>
                <a:gd name="connsiteY7" fmla="*/ 255543 h 800460"/>
                <a:gd name="connsiteX8" fmla="*/ 313985 w 637194"/>
                <a:gd name="connsiteY8" fmla="*/ 143206 h 800460"/>
                <a:gd name="connsiteX9" fmla="*/ 210840 w 637194"/>
                <a:gd name="connsiteY9" fmla="*/ 214009 h 800460"/>
                <a:gd name="connsiteX10" fmla="*/ 637195 w 637194"/>
                <a:gd name="connsiteY10" fmla="*/ 558783 h 800460"/>
                <a:gd name="connsiteX11" fmla="*/ 338572 w 637194"/>
                <a:gd name="connsiteY11" fmla="*/ 800460 h 800460"/>
                <a:gd name="connsiteX12" fmla="*/ 0 w 637194"/>
                <a:gd name="connsiteY12" fmla="*/ 571105 h 800460"/>
                <a:gd name="connsiteX13" fmla="*/ 0 w 637194"/>
                <a:gd name="connsiteY13" fmla="*/ 571044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7194" h="800460">
                  <a:moveTo>
                    <a:pt x="0" y="571044"/>
                  </a:moveTo>
                  <a:lnTo>
                    <a:pt x="158537" y="506406"/>
                  </a:lnTo>
                  <a:cubicBezTo>
                    <a:pt x="181621" y="584910"/>
                    <a:pt x="241645" y="649552"/>
                    <a:pt x="338653" y="649552"/>
                  </a:cubicBezTo>
                  <a:cubicBezTo>
                    <a:pt x="410993" y="649552"/>
                    <a:pt x="458704" y="611037"/>
                    <a:pt x="458704" y="561802"/>
                  </a:cubicBezTo>
                  <a:cubicBezTo>
                    <a:pt x="458704" y="415575"/>
                    <a:pt x="35398" y="511026"/>
                    <a:pt x="35398" y="217029"/>
                  </a:cubicBezTo>
                  <a:cubicBezTo>
                    <a:pt x="35398" y="95451"/>
                    <a:pt x="141630" y="0"/>
                    <a:pt x="310937" y="0"/>
                  </a:cubicBezTo>
                  <a:cubicBezTo>
                    <a:pt x="461752" y="0"/>
                    <a:pt x="589524" y="76965"/>
                    <a:pt x="623417" y="189361"/>
                  </a:cubicBezTo>
                  <a:lnTo>
                    <a:pt x="466385" y="255543"/>
                  </a:lnTo>
                  <a:cubicBezTo>
                    <a:pt x="444845" y="181659"/>
                    <a:pt x="377099" y="143206"/>
                    <a:pt x="313985" y="143206"/>
                  </a:cubicBezTo>
                  <a:cubicBezTo>
                    <a:pt x="250911" y="143206"/>
                    <a:pt x="210840" y="169394"/>
                    <a:pt x="210840" y="214009"/>
                  </a:cubicBezTo>
                  <a:cubicBezTo>
                    <a:pt x="210840" y="350994"/>
                    <a:pt x="637195" y="241738"/>
                    <a:pt x="637195" y="558783"/>
                  </a:cubicBezTo>
                  <a:cubicBezTo>
                    <a:pt x="637195" y="692683"/>
                    <a:pt x="517185" y="800460"/>
                    <a:pt x="338572" y="800460"/>
                  </a:cubicBezTo>
                  <a:cubicBezTo>
                    <a:pt x="150815" y="800460"/>
                    <a:pt x="38445" y="685043"/>
                    <a:pt x="0" y="571105"/>
                  </a:cubicBezTo>
                  <a:lnTo>
                    <a:pt x="0" y="571044"/>
                  </a:lnTo>
                  <a:close/>
                </a:path>
              </a:pathLst>
            </a:custGeom>
            <a:solidFill>
              <a:srgbClr val="002730"/>
            </a:solidFill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80932" y="5488398"/>
            <a:ext cx="8230136" cy="396070"/>
          </a:xfrm>
        </p:spPr>
        <p:txBody>
          <a:bodyPr lIns="0" tIns="0" rIns="0" bIns="0" anchor="t"/>
          <a:lstStyle>
            <a:lvl1pPr algn="ctr">
              <a:lnSpc>
                <a:spcPts val="3250"/>
              </a:lnSpc>
              <a:defRPr sz="2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0204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96962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62042F1-9661-F848-BF01-18667A75E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D2699B3-DF51-8E8E-B206-882B0FB2D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E53AE5F-747B-47AD-C69A-309211867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013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4007" y="6064250"/>
            <a:ext cx="3162506" cy="317500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B91F284-751C-08BD-3E40-DECC3DA450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4848700"/>
            <a:ext cx="4584076" cy="12248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0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19C90423-7D79-E7AA-449C-A8CD02E0F495}"/>
              </a:ext>
            </a:extLst>
          </p:cNvPr>
          <p:cNvSpPr txBox="1"/>
          <p:nvPr userDrawn="1"/>
        </p:nvSpPr>
        <p:spPr>
          <a:xfrm>
            <a:off x="482631" y="6252237"/>
            <a:ext cx="3839350" cy="149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nb-NO" sz="1000">
                <a:solidFill>
                  <a:schemeClr val="dk2"/>
                </a:solidFill>
              </a:rPr>
              <a:t>connectbus.no</a:t>
            </a:r>
          </a:p>
        </p:txBody>
      </p:sp>
    </p:spTree>
    <p:extLst>
      <p:ext uri="{BB962C8B-B14F-4D97-AF65-F5344CB8AC3E}">
        <p14:creationId xmlns:p14="http://schemas.microsoft.com/office/powerpoint/2010/main" val="616974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2631" y="476250"/>
            <a:ext cx="3162506" cy="317500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B91F284-751C-08BD-3E40-DECC3DA450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4848700"/>
            <a:ext cx="4584076" cy="12248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0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19C90423-7D79-E7AA-449C-A8CD02E0F495}"/>
              </a:ext>
            </a:extLst>
          </p:cNvPr>
          <p:cNvSpPr txBox="1"/>
          <p:nvPr userDrawn="1"/>
        </p:nvSpPr>
        <p:spPr>
          <a:xfrm>
            <a:off x="482631" y="6252237"/>
            <a:ext cx="3839350" cy="149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nb-NO" sz="1000">
                <a:solidFill>
                  <a:schemeClr val="dk2"/>
                </a:solidFill>
              </a:rPr>
              <a:t>connectbus.no</a:t>
            </a:r>
          </a:p>
        </p:txBody>
      </p:sp>
      <p:sp>
        <p:nvSpPr>
          <p:cNvPr id="16" name="Frihåndsform: figur 15">
            <a:extLst>
              <a:ext uri="{FF2B5EF4-FFF2-40B4-BE49-F238E27FC236}">
                <a16:creationId xmlns:a16="http://schemas.microsoft.com/office/drawing/2014/main" id="{94807AE5-A661-A076-67DF-B2498216DF14}"/>
              </a:ext>
            </a:extLst>
          </p:cNvPr>
          <p:cNvSpPr/>
          <p:nvPr/>
        </p:nvSpPr>
        <p:spPr>
          <a:xfrm>
            <a:off x="6909250" y="2481506"/>
            <a:ext cx="5282750" cy="4376495"/>
          </a:xfrm>
          <a:custGeom>
            <a:avLst/>
            <a:gdLst>
              <a:gd name="connsiteX0" fmla="*/ 7494918 w 10564812"/>
              <a:gd name="connsiteY0" fmla="*/ 3248123 h 8752989"/>
              <a:gd name="connsiteX1" fmla="*/ 5982056 w 10564812"/>
              <a:gd name="connsiteY1" fmla="*/ 8752989 h 8752989"/>
              <a:gd name="connsiteX2" fmla="*/ 0 w 10564812"/>
              <a:gd name="connsiteY2" fmla="*/ 8752989 h 8752989"/>
              <a:gd name="connsiteX3" fmla="*/ 1033671 w 10564812"/>
              <a:gd name="connsiteY3" fmla="*/ 6646491 h 8752989"/>
              <a:gd name="connsiteX4" fmla="*/ 2821356 w 10564812"/>
              <a:gd name="connsiteY4" fmla="*/ 4860122 h 8752989"/>
              <a:gd name="connsiteX5" fmla="*/ 5089830 w 10564812"/>
              <a:gd name="connsiteY5" fmla="*/ 3667046 h 8752989"/>
              <a:gd name="connsiteX6" fmla="*/ 7494918 w 10564812"/>
              <a:gd name="connsiteY6" fmla="*/ 3248123 h 8752989"/>
              <a:gd name="connsiteX7" fmla="*/ 10564812 w 10564812"/>
              <a:gd name="connsiteY7" fmla="*/ 0 h 8752989"/>
              <a:gd name="connsiteX8" fmla="*/ 10564812 w 10564812"/>
              <a:gd name="connsiteY8" fmla="*/ 3248123 h 8752989"/>
              <a:gd name="connsiteX9" fmla="*/ 7494918 w 10564812"/>
              <a:gd name="connsiteY9" fmla="*/ 3248123 h 8752989"/>
              <a:gd name="connsiteX10" fmla="*/ 8173644 w 10564812"/>
              <a:gd name="connsiteY10" fmla="*/ 1855848 h 8752989"/>
              <a:gd name="connsiteX11" fmla="*/ 9355748 w 10564812"/>
              <a:gd name="connsiteY11" fmla="*/ 675195 h 8752989"/>
              <a:gd name="connsiteX12" fmla="*/ 10459788 w 10564812"/>
              <a:gd name="connsiteY12" fmla="*/ 40913 h 875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564812" h="8752989">
                <a:moveTo>
                  <a:pt x="7494918" y="3248123"/>
                </a:moveTo>
                <a:lnTo>
                  <a:pt x="5982056" y="8752989"/>
                </a:lnTo>
                <a:lnTo>
                  <a:pt x="0" y="8752989"/>
                </a:lnTo>
                <a:cubicBezTo>
                  <a:pt x="215661" y="7994495"/>
                  <a:pt x="565776" y="7280817"/>
                  <a:pt x="1033671" y="6646491"/>
                </a:cubicBezTo>
                <a:cubicBezTo>
                  <a:pt x="1534376" y="5961961"/>
                  <a:pt x="2137258" y="5359486"/>
                  <a:pt x="2821356" y="4860122"/>
                </a:cubicBezTo>
                <a:cubicBezTo>
                  <a:pt x="3514052" y="4351043"/>
                  <a:pt x="4278276" y="3948858"/>
                  <a:pt x="5089830" y="3667046"/>
                </a:cubicBezTo>
                <a:cubicBezTo>
                  <a:pt x="5863210" y="3395507"/>
                  <a:pt x="6675832" y="3254067"/>
                  <a:pt x="7494918" y="3248123"/>
                </a:cubicBezTo>
                <a:close/>
                <a:moveTo>
                  <a:pt x="10564812" y="0"/>
                </a:moveTo>
                <a:lnTo>
                  <a:pt x="10564812" y="3248123"/>
                </a:lnTo>
                <a:lnTo>
                  <a:pt x="7494918" y="3248123"/>
                </a:lnTo>
                <a:cubicBezTo>
                  <a:pt x="7635824" y="2747146"/>
                  <a:pt x="7866012" y="2275316"/>
                  <a:pt x="8173644" y="1855848"/>
                </a:cubicBezTo>
                <a:cubicBezTo>
                  <a:pt x="8504924" y="1403448"/>
                  <a:pt x="8903450" y="1005050"/>
                  <a:pt x="9355748" y="675195"/>
                </a:cubicBezTo>
                <a:cubicBezTo>
                  <a:pt x="9699410" y="422545"/>
                  <a:pt x="10069690" y="209979"/>
                  <a:pt x="10459788" y="40913"/>
                </a:cubicBezTo>
                <a:close/>
              </a:path>
            </a:pathLst>
          </a:custGeom>
          <a:solidFill>
            <a:schemeClr val="dk2"/>
          </a:solidFill>
          <a:ln w="1495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611023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61584" y="5827586"/>
            <a:ext cx="5060009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73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e 18">
            <a:extLst>
              <a:ext uri="{FF2B5EF4-FFF2-40B4-BE49-F238E27FC236}">
                <a16:creationId xmlns:a16="http://schemas.microsoft.com/office/drawing/2014/main" id="{7C815E34-AAB9-9CDF-3D68-6E991357698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12004" y="2711450"/>
            <a:ext cx="7967991" cy="800261"/>
            <a:chOff x="7452443" y="3248590"/>
            <a:chExt cx="10115578" cy="1016019"/>
          </a:xfrm>
          <a:solidFill>
            <a:schemeClr val="lt1"/>
          </a:solidFill>
        </p:grpSpPr>
        <p:sp>
          <p:nvSpPr>
            <p:cNvPr id="7" name="Frihåndsform: figur 6">
              <a:extLst>
                <a:ext uri="{FF2B5EF4-FFF2-40B4-BE49-F238E27FC236}">
                  <a16:creationId xmlns:a16="http://schemas.microsoft.com/office/drawing/2014/main" id="{21F862BE-967D-555A-DDB5-4BC69A2E88CD}"/>
                </a:ext>
              </a:extLst>
            </p:cNvPr>
            <p:cNvSpPr/>
            <p:nvPr/>
          </p:nvSpPr>
          <p:spPr>
            <a:xfrm>
              <a:off x="7452443" y="3248590"/>
              <a:ext cx="1371148" cy="1003564"/>
            </a:xfrm>
            <a:custGeom>
              <a:avLst/>
              <a:gdLst>
                <a:gd name="connsiteX0" fmla="*/ 1196007 w 1371148"/>
                <a:gd name="connsiteY0" fmla="*/ 30454 h 1003564"/>
                <a:gd name="connsiteX1" fmla="*/ 1030699 w 1371148"/>
                <a:gd name="connsiteY1" fmla="*/ 117018 h 1003564"/>
                <a:gd name="connsiteX2" fmla="*/ 900473 w 1371148"/>
                <a:gd name="connsiteY2" fmla="*/ 246596 h 1003564"/>
                <a:gd name="connsiteX3" fmla="*/ 825699 w 1371148"/>
                <a:gd name="connsiteY3" fmla="*/ 399400 h 1003564"/>
                <a:gd name="connsiteX4" fmla="*/ 560734 w 1371148"/>
                <a:gd name="connsiteY4" fmla="*/ 445378 h 1003564"/>
                <a:gd name="connsiteX5" fmla="*/ 310822 w 1371148"/>
                <a:gd name="connsiteY5" fmla="*/ 576320 h 1003564"/>
                <a:gd name="connsiteX6" fmla="*/ 113877 w 1371148"/>
                <a:gd name="connsiteY6" fmla="*/ 772375 h 1003564"/>
                <a:gd name="connsiteX7" fmla="*/ 0 w 1371148"/>
                <a:gd name="connsiteY7" fmla="*/ 1003564 h 1003564"/>
                <a:gd name="connsiteX8" fmla="*/ 659030 w 1371148"/>
                <a:gd name="connsiteY8" fmla="*/ 1003564 h 1003564"/>
                <a:gd name="connsiteX9" fmla="*/ 825699 w 1371148"/>
                <a:gd name="connsiteY9" fmla="*/ 399400 h 1003564"/>
                <a:gd name="connsiteX10" fmla="*/ 1261478 w 1371148"/>
                <a:gd name="connsiteY10" fmla="*/ 399400 h 1003564"/>
                <a:gd name="connsiteX11" fmla="*/ 1371149 w 1371148"/>
                <a:gd name="connsiteY11" fmla="*/ 0 h 1003564"/>
                <a:gd name="connsiteX12" fmla="*/ 1195950 w 1371148"/>
                <a:gd name="connsiteY12" fmla="*/ 30454 h 1003564"/>
                <a:gd name="connsiteX13" fmla="*/ 1196007 w 1371148"/>
                <a:gd name="connsiteY13" fmla="*/ 30454 h 10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1148" h="1003564">
                  <a:moveTo>
                    <a:pt x="1196007" y="30454"/>
                  </a:moveTo>
                  <a:cubicBezTo>
                    <a:pt x="1136876" y="50895"/>
                    <a:pt x="1081182" y="80046"/>
                    <a:pt x="1030699" y="117018"/>
                  </a:cubicBezTo>
                  <a:cubicBezTo>
                    <a:pt x="980871" y="153219"/>
                    <a:pt x="936967" y="196945"/>
                    <a:pt x="900473" y="246596"/>
                  </a:cubicBezTo>
                  <a:cubicBezTo>
                    <a:pt x="866579" y="292632"/>
                    <a:pt x="841224" y="344416"/>
                    <a:pt x="825699" y="399400"/>
                  </a:cubicBezTo>
                  <a:cubicBezTo>
                    <a:pt x="735462" y="400052"/>
                    <a:pt x="645936" y="415577"/>
                    <a:pt x="560734" y="445378"/>
                  </a:cubicBezTo>
                  <a:cubicBezTo>
                    <a:pt x="471326" y="476305"/>
                    <a:pt x="387135" y="520448"/>
                    <a:pt x="310822" y="576320"/>
                  </a:cubicBezTo>
                  <a:cubicBezTo>
                    <a:pt x="235457" y="631123"/>
                    <a:pt x="169038" y="697244"/>
                    <a:pt x="113877" y="772375"/>
                  </a:cubicBezTo>
                  <a:cubicBezTo>
                    <a:pt x="62330" y="841992"/>
                    <a:pt x="23759" y="920321"/>
                    <a:pt x="0" y="1003564"/>
                  </a:cubicBezTo>
                  <a:lnTo>
                    <a:pt x="659030" y="1003564"/>
                  </a:lnTo>
                  <a:lnTo>
                    <a:pt x="825699" y="399400"/>
                  </a:lnTo>
                  <a:lnTo>
                    <a:pt x="1261478" y="399400"/>
                  </a:lnTo>
                  <a:lnTo>
                    <a:pt x="1371149" y="0"/>
                  </a:lnTo>
                  <a:cubicBezTo>
                    <a:pt x="1311485" y="474"/>
                    <a:pt x="1252293" y="10724"/>
                    <a:pt x="1195950" y="30454"/>
                  </a:cubicBezTo>
                  <a:lnTo>
                    <a:pt x="1196007" y="30454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9" name="Frihåndsform: figur 8">
              <a:extLst>
                <a:ext uri="{FF2B5EF4-FFF2-40B4-BE49-F238E27FC236}">
                  <a16:creationId xmlns:a16="http://schemas.microsoft.com/office/drawing/2014/main" id="{B95C4808-90D7-D885-8B73-47DBB99CC05F}"/>
                </a:ext>
              </a:extLst>
            </p:cNvPr>
            <p:cNvSpPr/>
            <p:nvPr/>
          </p:nvSpPr>
          <p:spPr>
            <a:xfrm>
              <a:off x="9095229" y="3464092"/>
              <a:ext cx="758862" cy="800517"/>
            </a:xfrm>
            <a:custGeom>
              <a:avLst/>
              <a:gdLst>
                <a:gd name="connsiteX0" fmla="*/ 0 w 758862"/>
                <a:gd name="connsiteY0" fmla="*/ 400230 h 800517"/>
                <a:gd name="connsiteX1" fmla="*/ 394066 w 758862"/>
                <a:gd name="connsiteY1" fmla="*/ 0 h 800517"/>
                <a:gd name="connsiteX2" fmla="*/ 758862 w 758862"/>
                <a:gd name="connsiteY2" fmla="*/ 267808 h 800517"/>
                <a:gd name="connsiteX3" fmla="*/ 569561 w 758862"/>
                <a:gd name="connsiteY3" fmla="*/ 304778 h 800517"/>
                <a:gd name="connsiteX4" fmla="*/ 400227 w 758862"/>
                <a:gd name="connsiteY4" fmla="*/ 167794 h 800517"/>
                <a:gd name="connsiteX5" fmla="*/ 201684 w 758862"/>
                <a:gd name="connsiteY5" fmla="*/ 400230 h 800517"/>
                <a:gd name="connsiteX6" fmla="*/ 400227 w 758862"/>
                <a:gd name="connsiteY6" fmla="*/ 632666 h 800517"/>
                <a:gd name="connsiteX7" fmla="*/ 569561 w 758862"/>
                <a:gd name="connsiteY7" fmla="*/ 500302 h 800517"/>
                <a:gd name="connsiteX8" fmla="*/ 758862 w 758862"/>
                <a:gd name="connsiteY8" fmla="*/ 538812 h 800517"/>
                <a:gd name="connsiteX9" fmla="*/ 394066 w 758862"/>
                <a:gd name="connsiteY9" fmla="*/ 800517 h 800517"/>
                <a:gd name="connsiteX10" fmla="*/ 0 w 758862"/>
                <a:gd name="connsiteY10" fmla="*/ 400291 h 800517"/>
                <a:gd name="connsiteX11" fmla="*/ 0 w 758862"/>
                <a:gd name="connsiteY11" fmla="*/ 400230 h 80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862" h="800517">
                  <a:moveTo>
                    <a:pt x="0" y="400230"/>
                  </a:moveTo>
                  <a:cubicBezTo>
                    <a:pt x="0" y="163173"/>
                    <a:pt x="161629" y="0"/>
                    <a:pt x="394066" y="0"/>
                  </a:cubicBezTo>
                  <a:cubicBezTo>
                    <a:pt x="592608" y="0"/>
                    <a:pt x="732735" y="103153"/>
                    <a:pt x="758862" y="267808"/>
                  </a:cubicBezTo>
                  <a:lnTo>
                    <a:pt x="569561" y="304778"/>
                  </a:lnTo>
                  <a:cubicBezTo>
                    <a:pt x="555699" y="223194"/>
                    <a:pt x="491057" y="167794"/>
                    <a:pt x="400227" y="167794"/>
                  </a:cubicBezTo>
                  <a:cubicBezTo>
                    <a:pt x="280188" y="167794"/>
                    <a:pt x="201684" y="258624"/>
                    <a:pt x="201684" y="400230"/>
                  </a:cubicBezTo>
                  <a:cubicBezTo>
                    <a:pt x="201684" y="541836"/>
                    <a:pt x="280188" y="632666"/>
                    <a:pt x="400227" y="632666"/>
                  </a:cubicBezTo>
                  <a:cubicBezTo>
                    <a:pt x="491057" y="632666"/>
                    <a:pt x="551074" y="583427"/>
                    <a:pt x="569561" y="500302"/>
                  </a:cubicBezTo>
                  <a:lnTo>
                    <a:pt x="758862" y="538812"/>
                  </a:lnTo>
                  <a:cubicBezTo>
                    <a:pt x="729594" y="701986"/>
                    <a:pt x="589528" y="800517"/>
                    <a:pt x="394066" y="800517"/>
                  </a:cubicBezTo>
                  <a:cubicBezTo>
                    <a:pt x="161629" y="800517"/>
                    <a:pt x="0" y="637344"/>
                    <a:pt x="0" y="400291"/>
                  </a:cubicBezTo>
                  <a:lnTo>
                    <a:pt x="0" y="400230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0" name="Frihåndsform: figur 9">
              <a:extLst>
                <a:ext uri="{FF2B5EF4-FFF2-40B4-BE49-F238E27FC236}">
                  <a16:creationId xmlns:a16="http://schemas.microsoft.com/office/drawing/2014/main" id="{6772C737-6C55-B52B-8EDE-8BB72720EB6E}"/>
                </a:ext>
              </a:extLst>
            </p:cNvPr>
            <p:cNvSpPr/>
            <p:nvPr/>
          </p:nvSpPr>
          <p:spPr>
            <a:xfrm>
              <a:off x="9938647" y="3464092"/>
              <a:ext cx="809699" cy="800460"/>
            </a:xfrm>
            <a:custGeom>
              <a:avLst/>
              <a:gdLst>
                <a:gd name="connsiteX0" fmla="*/ 0 w 809699"/>
                <a:gd name="connsiteY0" fmla="*/ 400230 h 800460"/>
                <a:gd name="connsiteX1" fmla="*/ 404848 w 809699"/>
                <a:gd name="connsiteY1" fmla="*/ 0 h 800460"/>
                <a:gd name="connsiteX2" fmla="*/ 809699 w 809699"/>
                <a:gd name="connsiteY2" fmla="*/ 400230 h 800460"/>
                <a:gd name="connsiteX3" fmla="*/ 404848 w 809699"/>
                <a:gd name="connsiteY3" fmla="*/ 800460 h 800460"/>
                <a:gd name="connsiteX4" fmla="*/ 0 w 809699"/>
                <a:gd name="connsiteY4" fmla="*/ 400230 h 800460"/>
                <a:gd name="connsiteX5" fmla="*/ 614176 w 809699"/>
                <a:gd name="connsiteY5" fmla="*/ 400230 h 800460"/>
                <a:gd name="connsiteX6" fmla="*/ 404848 w 809699"/>
                <a:gd name="connsiteY6" fmla="*/ 167794 h 800460"/>
                <a:gd name="connsiteX7" fmla="*/ 195523 w 809699"/>
                <a:gd name="connsiteY7" fmla="*/ 400230 h 800460"/>
                <a:gd name="connsiteX8" fmla="*/ 404848 w 809699"/>
                <a:gd name="connsiteY8" fmla="*/ 632666 h 800460"/>
                <a:gd name="connsiteX9" fmla="*/ 614176 w 809699"/>
                <a:gd name="connsiteY9" fmla="*/ 400230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9699" h="800460">
                  <a:moveTo>
                    <a:pt x="0" y="400230"/>
                  </a:moveTo>
                  <a:cubicBezTo>
                    <a:pt x="0" y="169335"/>
                    <a:pt x="169335" y="0"/>
                    <a:pt x="404848" y="0"/>
                  </a:cubicBezTo>
                  <a:cubicBezTo>
                    <a:pt x="640364" y="0"/>
                    <a:pt x="809699" y="169335"/>
                    <a:pt x="809699" y="400230"/>
                  </a:cubicBezTo>
                  <a:cubicBezTo>
                    <a:pt x="809699" y="631126"/>
                    <a:pt x="640364" y="800460"/>
                    <a:pt x="404848" y="800460"/>
                  </a:cubicBezTo>
                  <a:cubicBezTo>
                    <a:pt x="169335" y="800460"/>
                    <a:pt x="0" y="631126"/>
                    <a:pt x="0" y="400230"/>
                  </a:cubicBezTo>
                  <a:close/>
                  <a:moveTo>
                    <a:pt x="614176" y="400230"/>
                  </a:moveTo>
                  <a:cubicBezTo>
                    <a:pt x="614176" y="261704"/>
                    <a:pt x="529511" y="167794"/>
                    <a:pt x="404848" y="167794"/>
                  </a:cubicBezTo>
                  <a:cubicBezTo>
                    <a:pt x="280188" y="167794"/>
                    <a:pt x="195523" y="261704"/>
                    <a:pt x="195523" y="400230"/>
                  </a:cubicBezTo>
                  <a:cubicBezTo>
                    <a:pt x="195523" y="538755"/>
                    <a:pt x="278648" y="632666"/>
                    <a:pt x="404848" y="632666"/>
                  </a:cubicBezTo>
                  <a:cubicBezTo>
                    <a:pt x="531051" y="632666"/>
                    <a:pt x="614176" y="538755"/>
                    <a:pt x="614176" y="400230"/>
                  </a:cubicBez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1" name="Frihåndsform: figur 10">
              <a:extLst>
                <a:ext uri="{FF2B5EF4-FFF2-40B4-BE49-F238E27FC236}">
                  <a16:creationId xmlns:a16="http://schemas.microsoft.com/office/drawing/2014/main" id="{84D419A0-16E5-7AE8-AB63-3D78AFFCC9DF}"/>
                </a:ext>
              </a:extLst>
            </p:cNvPr>
            <p:cNvSpPr/>
            <p:nvPr/>
          </p:nvSpPr>
          <p:spPr>
            <a:xfrm>
              <a:off x="10850844" y="3464092"/>
              <a:ext cx="723428" cy="788073"/>
            </a:xfrm>
            <a:custGeom>
              <a:avLst/>
              <a:gdLst>
                <a:gd name="connsiteX0" fmla="*/ 0 w 723428"/>
                <a:gd name="connsiteY0" fmla="*/ 12265 h 788073"/>
                <a:gd name="connsiteX1" fmla="*/ 193922 w 723428"/>
                <a:gd name="connsiteY1" fmla="*/ 12265 h 788073"/>
                <a:gd name="connsiteX2" fmla="*/ 193922 w 723428"/>
                <a:gd name="connsiteY2" fmla="*/ 129282 h 788073"/>
                <a:gd name="connsiteX3" fmla="*/ 440221 w 723428"/>
                <a:gd name="connsiteY3" fmla="*/ 0 h 788073"/>
                <a:gd name="connsiteX4" fmla="*/ 723428 w 723428"/>
                <a:gd name="connsiteY4" fmla="*/ 280130 h 788073"/>
                <a:gd name="connsiteX5" fmla="*/ 723428 w 723428"/>
                <a:gd name="connsiteY5" fmla="*/ 788073 h 788073"/>
                <a:gd name="connsiteX6" fmla="*/ 529511 w 723428"/>
                <a:gd name="connsiteY6" fmla="*/ 788073 h 788073"/>
                <a:gd name="connsiteX7" fmla="*/ 529511 w 723428"/>
                <a:gd name="connsiteY7" fmla="*/ 326285 h 788073"/>
                <a:gd name="connsiteX8" fmla="*/ 381744 w 723428"/>
                <a:gd name="connsiteY8" fmla="*/ 172357 h 788073"/>
                <a:gd name="connsiteX9" fmla="*/ 193922 w 723428"/>
                <a:gd name="connsiteY9" fmla="*/ 447868 h 788073"/>
                <a:gd name="connsiteX10" fmla="*/ 193922 w 723428"/>
                <a:gd name="connsiteY10" fmla="*/ 788073 h 788073"/>
                <a:gd name="connsiteX11" fmla="*/ 0 w 723428"/>
                <a:gd name="connsiteY11" fmla="*/ 788073 h 788073"/>
                <a:gd name="connsiteX12" fmla="*/ 0 w 723428"/>
                <a:gd name="connsiteY12" fmla="*/ 12265 h 7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28" h="788073">
                  <a:moveTo>
                    <a:pt x="0" y="12265"/>
                  </a:moveTo>
                  <a:lnTo>
                    <a:pt x="193922" y="12265"/>
                  </a:lnTo>
                  <a:lnTo>
                    <a:pt x="193922" y="129282"/>
                  </a:lnTo>
                  <a:cubicBezTo>
                    <a:pt x="243157" y="53858"/>
                    <a:pt x="330907" y="0"/>
                    <a:pt x="440221" y="0"/>
                  </a:cubicBezTo>
                  <a:cubicBezTo>
                    <a:pt x="609555" y="0"/>
                    <a:pt x="723428" y="110856"/>
                    <a:pt x="723428" y="280130"/>
                  </a:cubicBezTo>
                  <a:lnTo>
                    <a:pt x="723428" y="788073"/>
                  </a:lnTo>
                  <a:lnTo>
                    <a:pt x="529511" y="788073"/>
                  </a:lnTo>
                  <a:lnTo>
                    <a:pt x="529511" y="326285"/>
                  </a:lnTo>
                  <a:cubicBezTo>
                    <a:pt x="529511" y="235459"/>
                    <a:pt x="472570" y="172357"/>
                    <a:pt x="381744" y="172357"/>
                  </a:cubicBezTo>
                  <a:cubicBezTo>
                    <a:pt x="263242" y="172357"/>
                    <a:pt x="193922" y="273969"/>
                    <a:pt x="193922" y="447868"/>
                  </a:cubicBezTo>
                  <a:lnTo>
                    <a:pt x="193922" y="788073"/>
                  </a:lnTo>
                  <a:lnTo>
                    <a:pt x="0" y="788073"/>
                  </a:lnTo>
                  <a:lnTo>
                    <a:pt x="0" y="12265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2" name="Frihåndsform: figur 11">
              <a:extLst>
                <a:ext uri="{FF2B5EF4-FFF2-40B4-BE49-F238E27FC236}">
                  <a16:creationId xmlns:a16="http://schemas.microsoft.com/office/drawing/2014/main" id="{8EA457A3-7137-C295-10D0-74F52FDF4131}"/>
                </a:ext>
              </a:extLst>
            </p:cNvPr>
            <p:cNvSpPr/>
            <p:nvPr/>
          </p:nvSpPr>
          <p:spPr>
            <a:xfrm>
              <a:off x="11706719" y="3464092"/>
              <a:ext cx="723432" cy="788073"/>
            </a:xfrm>
            <a:custGeom>
              <a:avLst/>
              <a:gdLst>
                <a:gd name="connsiteX0" fmla="*/ 0 w 723432"/>
                <a:gd name="connsiteY0" fmla="*/ 12265 h 788073"/>
                <a:gd name="connsiteX1" fmla="*/ 193934 w 723432"/>
                <a:gd name="connsiteY1" fmla="*/ 12265 h 788073"/>
                <a:gd name="connsiteX2" fmla="*/ 193934 w 723432"/>
                <a:gd name="connsiteY2" fmla="*/ 129282 h 788073"/>
                <a:gd name="connsiteX3" fmla="*/ 440212 w 723432"/>
                <a:gd name="connsiteY3" fmla="*/ 0 h 788073"/>
                <a:gd name="connsiteX4" fmla="*/ 723433 w 723432"/>
                <a:gd name="connsiteY4" fmla="*/ 280130 h 788073"/>
                <a:gd name="connsiteX5" fmla="*/ 723433 w 723432"/>
                <a:gd name="connsiteY5" fmla="*/ 788073 h 788073"/>
                <a:gd name="connsiteX6" fmla="*/ 529499 w 723432"/>
                <a:gd name="connsiteY6" fmla="*/ 788073 h 788073"/>
                <a:gd name="connsiteX7" fmla="*/ 529499 w 723432"/>
                <a:gd name="connsiteY7" fmla="*/ 326285 h 788073"/>
                <a:gd name="connsiteX8" fmla="*/ 381731 w 723432"/>
                <a:gd name="connsiteY8" fmla="*/ 172357 h 788073"/>
                <a:gd name="connsiteX9" fmla="*/ 193934 w 723432"/>
                <a:gd name="connsiteY9" fmla="*/ 447868 h 788073"/>
                <a:gd name="connsiteX10" fmla="*/ 193934 w 723432"/>
                <a:gd name="connsiteY10" fmla="*/ 788073 h 788073"/>
                <a:gd name="connsiteX11" fmla="*/ 0 w 723432"/>
                <a:gd name="connsiteY11" fmla="*/ 788073 h 788073"/>
                <a:gd name="connsiteX12" fmla="*/ 0 w 723432"/>
                <a:gd name="connsiteY12" fmla="*/ 12265 h 7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32" h="788073">
                  <a:moveTo>
                    <a:pt x="0" y="12265"/>
                  </a:moveTo>
                  <a:lnTo>
                    <a:pt x="193934" y="12265"/>
                  </a:lnTo>
                  <a:lnTo>
                    <a:pt x="193934" y="129282"/>
                  </a:lnTo>
                  <a:cubicBezTo>
                    <a:pt x="243149" y="53858"/>
                    <a:pt x="330931" y="0"/>
                    <a:pt x="440212" y="0"/>
                  </a:cubicBezTo>
                  <a:cubicBezTo>
                    <a:pt x="609559" y="0"/>
                    <a:pt x="723433" y="110856"/>
                    <a:pt x="723433" y="280130"/>
                  </a:cubicBezTo>
                  <a:lnTo>
                    <a:pt x="723433" y="788073"/>
                  </a:lnTo>
                  <a:lnTo>
                    <a:pt x="529499" y="788073"/>
                  </a:lnTo>
                  <a:lnTo>
                    <a:pt x="529499" y="326285"/>
                  </a:lnTo>
                  <a:cubicBezTo>
                    <a:pt x="529499" y="235459"/>
                    <a:pt x="472562" y="172357"/>
                    <a:pt x="381731" y="172357"/>
                  </a:cubicBezTo>
                  <a:cubicBezTo>
                    <a:pt x="263266" y="172357"/>
                    <a:pt x="193934" y="273969"/>
                    <a:pt x="193934" y="447868"/>
                  </a:cubicBezTo>
                  <a:lnTo>
                    <a:pt x="193934" y="788073"/>
                  </a:lnTo>
                  <a:lnTo>
                    <a:pt x="0" y="788073"/>
                  </a:lnTo>
                  <a:lnTo>
                    <a:pt x="0" y="12265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3" name="Frihåndsform: figur 12">
              <a:extLst>
                <a:ext uri="{FF2B5EF4-FFF2-40B4-BE49-F238E27FC236}">
                  <a16:creationId xmlns:a16="http://schemas.microsoft.com/office/drawing/2014/main" id="{5E76CF7E-69C9-3A6A-9858-B95B7B619047}"/>
                </a:ext>
              </a:extLst>
            </p:cNvPr>
            <p:cNvSpPr/>
            <p:nvPr/>
          </p:nvSpPr>
          <p:spPr>
            <a:xfrm>
              <a:off x="12532930" y="3464092"/>
              <a:ext cx="772728" cy="800460"/>
            </a:xfrm>
            <a:custGeom>
              <a:avLst/>
              <a:gdLst>
                <a:gd name="connsiteX0" fmla="*/ 769600 w 772728"/>
                <a:gd name="connsiteY0" fmla="*/ 451005 h 800460"/>
                <a:gd name="connsiteX1" fmla="*/ 193934 w 772728"/>
                <a:gd name="connsiteY1" fmla="*/ 451005 h 800460"/>
                <a:gd name="connsiteX2" fmla="*/ 397094 w 772728"/>
                <a:gd name="connsiteY2" fmla="*/ 637287 h 800460"/>
                <a:gd name="connsiteX3" fmla="*/ 572577 w 772728"/>
                <a:gd name="connsiteY3" fmla="*/ 518789 h 800460"/>
                <a:gd name="connsiteX4" fmla="*/ 754238 w 772728"/>
                <a:gd name="connsiteY4" fmla="*/ 568024 h 800460"/>
                <a:gd name="connsiteX5" fmla="*/ 394086 w 772728"/>
                <a:gd name="connsiteY5" fmla="*/ 800460 h 800460"/>
                <a:gd name="connsiteX6" fmla="*/ 0 w 772728"/>
                <a:gd name="connsiteY6" fmla="*/ 400230 h 800460"/>
                <a:gd name="connsiteX7" fmla="*/ 383275 w 772728"/>
                <a:gd name="connsiteY7" fmla="*/ 0 h 800460"/>
                <a:gd name="connsiteX8" fmla="*/ 772729 w 772728"/>
                <a:gd name="connsiteY8" fmla="*/ 374041 h 800460"/>
                <a:gd name="connsiteX9" fmla="*/ 769640 w 772728"/>
                <a:gd name="connsiteY9" fmla="*/ 451005 h 800460"/>
                <a:gd name="connsiteX10" fmla="*/ 769600 w 772728"/>
                <a:gd name="connsiteY10" fmla="*/ 451005 h 800460"/>
                <a:gd name="connsiteX11" fmla="*/ 564896 w 772728"/>
                <a:gd name="connsiteY11" fmla="*/ 309399 h 800460"/>
                <a:gd name="connsiteX12" fmla="*/ 383235 w 772728"/>
                <a:gd name="connsiteY12" fmla="*/ 147768 h 800460"/>
                <a:gd name="connsiteX13" fmla="*/ 198486 w 772728"/>
                <a:gd name="connsiteY13" fmla="*/ 309399 h 800460"/>
                <a:gd name="connsiteX14" fmla="*/ 564815 w 772728"/>
                <a:gd name="connsiteY14" fmla="*/ 309399 h 800460"/>
                <a:gd name="connsiteX15" fmla="*/ 564896 w 772728"/>
                <a:gd name="connsiteY15" fmla="*/ 309399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2728" h="800460">
                  <a:moveTo>
                    <a:pt x="769600" y="451005"/>
                  </a:moveTo>
                  <a:lnTo>
                    <a:pt x="193934" y="451005"/>
                  </a:lnTo>
                  <a:cubicBezTo>
                    <a:pt x="210881" y="568024"/>
                    <a:pt x="286309" y="637287"/>
                    <a:pt x="397094" y="637287"/>
                  </a:cubicBezTo>
                  <a:cubicBezTo>
                    <a:pt x="487924" y="637287"/>
                    <a:pt x="552582" y="594213"/>
                    <a:pt x="572577" y="518789"/>
                  </a:cubicBezTo>
                  <a:lnTo>
                    <a:pt x="754238" y="568024"/>
                  </a:lnTo>
                  <a:cubicBezTo>
                    <a:pt x="711159" y="714251"/>
                    <a:pt x="575666" y="800460"/>
                    <a:pt x="394086" y="800460"/>
                  </a:cubicBezTo>
                  <a:cubicBezTo>
                    <a:pt x="136997" y="800460"/>
                    <a:pt x="0" y="601914"/>
                    <a:pt x="0" y="400230"/>
                  </a:cubicBezTo>
                  <a:cubicBezTo>
                    <a:pt x="0" y="198546"/>
                    <a:pt x="126228" y="0"/>
                    <a:pt x="383275" y="0"/>
                  </a:cubicBezTo>
                  <a:cubicBezTo>
                    <a:pt x="640364" y="0"/>
                    <a:pt x="772729" y="193925"/>
                    <a:pt x="772729" y="374041"/>
                  </a:cubicBezTo>
                  <a:cubicBezTo>
                    <a:pt x="772729" y="401770"/>
                    <a:pt x="771185" y="435603"/>
                    <a:pt x="769640" y="451005"/>
                  </a:cubicBezTo>
                  <a:lnTo>
                    <a:pt x="769600" y="451005"/>
                  </a:lnTo>
                  <a:close/>
                  <a:moveTo>
                    <a:pt x="564896" y="309399"/>
                  </a:moveTo>
                  <a:cubicBezTo>
                    <a:pt x="555630" y="217029"/>
                    <a:pt x="495645" y="147768"/>
                    <a:pt x="383235" y="147768"/>
                  </a:cubicBezTo>
                  <a:cubicBezTo>
                    <a:pt x="287772" y="147768"/>
                    <a:pt x="220066" y="204707"/>
                    <a:pt x="198486" y="309399"/>
                  </a:cubicBezTo>
                  <a:lnTo>
                    <a:pt x="564815" y="309399"/>
                  </a:lnTo>
                  <a:lnTo>
                    <a:pt x="564896" y="309399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4" name="Frihåndsform: figur 13">
              <a:extLst>
                <a:ext uri="{FF2B5EF4-FFF2-40B4-BE49-F238E27FC236}">
                  <a16:creationId xmlns:a16="http://schemas.microsoft.com/office/drawing/2014/main" id="{9576EDA1-1278-DCD3-578B-5270D5196CD7}"/>
                </a:ext>
              </a:extLst>
            </p:cNvPr>
            <p:cNvSpPr/>
            <p:nvPr/>
          </p:nvSpPr>
          <p:spPr>
            <a:xfrm>
              <a:off x="13390475" y="3464092"/>
              <a:ext cx="758870" cy="800517"/>
            </a:xfrm>
            <a:custGeom>
              <a:avLst/>
              <a:gdLst>
                <a:gd name="connsiteX0" fmla="*/ 0 w 758870"/>
                <a:gd name="connsiteY0" fmla="*/ 400230 h 800517"/>
                <a:gd name="connsiteX1" fmla="*/ 394045 w 758870"/>
                <a:gd name="connsiteY1" fmla="*/ 0 h 800517"/>
                <a:gd name="connsiteX2" fmla="*/ 758870 w 758870"/>
                <a:gd name="connsiteY2" fmla="*/ 267808 h 800517"/>
                <a:gd name="connsiteX3" fmla="*/ 569570 w 758870"/>
                <a:gd name="connsiteY3" fmla="*/ 304778 h 800517"/>
                <a:gd name="connsiteX4" fmla="*/ 400222 w 758870"/>
                <a:gd name="connsiteY4" fmla="*/ 167794 h 800517"/>
                <a:gd name="connsiteX5" fmla="*/ 201696 w 758870"/>
                <a:gd name="connsiteY5" fmla="*/ 400230 h 800517"/>
                <a:gd name="connsiteX6" fmla="*/ 400222 w 758870"/>
                <a:gd name="connsiteY6" fmla="*/ 632666 h 800517"/>
                <a:gd name="connsiteX7" fmla="*/ 569570 w 758870"/>
                <a:gd name="connsiteY7" fmla="*/ 500302 h 800517"/>
                <a:gd name="connsiteX8" fmla="*/ 758870 w 758870"/>
                <a:gd name="connsiteY8" fmla="*/ 538812 h 800517"/>
                <a:gd name="connsiteX9" fmla="*/ 394045 w 758870"/>
                <a:gd name="connsiteY9" fmla="*/ 800517 h 800517"/>
                <a:gd name="connsiteX10" fmla="*/ 0 w 758870"/>
                <a:gd name="connsiteY10" fmla="*/ 400291 h 800517"/>
                <a:gd name="connsiteX11" fmla="*/ 0 w 758870"/>
                <a:gd name="connsiteY11" fmla="*/ 400230 h 80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870" h="800517">
                  <a:moveTo>
                    <a:pt x="0" y="400230"/>
                  </a:moveTo>
                  <a:cubicBezTo>
                    <a:pt x="0" y="163173"/>
                    <a:pt x="161625" y="0"/>
                    <a:pt x="394045" y="0"/>
                  </a:cubicBezTo>
                  <a:cubicBezTo>
                    <a:pt x="592612" y="0"/>
                    <a:pt x="732739" y="103153"/>
                    <a:pt x="758870" y="267808"/>
                  </a:cubicBezTo>
                  <a:lnTo>
                    <a:pt x="569570" y="304778"/>
                  </a:lnTo>
                  <a:cubicBezTo>
                    <a:pt x="555711" y="223194"/>
                    <a:pt x="491053" y="167794"/>
                    <a:pt x="400222" y="167794"/>
                  </a:cubicBezTo>
                  <a:cubicBezTo>
                    <a:pt x="280172" y="167794"/>
                    <a:pt x="201696" y="258624"/>
                    <a:pt x="201696" y="400230"/>
                  </a:cubicBezTo>
                  <a:cubicBezTo>
                    <a:pt x="201696" y="541836"/>
                    <a:pt x="280172" y="632666"/>
                    <a:pt x="400222" y="632666"/>
                  </a:cubicBezTo>
                  <a:cubicBezTo>
                    <a:pt x="491053" y="632666"/>
                    <a:pt x="551078" y="583427"/>
                    <a:pt x="569570" y="500302"/>
                  </a:cubicBezTo>
                  <a:lnTo>
                    <a:pt x="758870" y="538812"/>
                  </a:lnTo>
                  <a:cubicBezTo>
                    <a:pt x="729569" y="701986"/>
                    <a:pt x="589524" y="800517"/>
                    <a:pt x="394045" y="800517"/>
                  </a:cubicBezTo>
                  <a:cubicBezTo>
                    <a:pt x="161625" y="800517"/>
                    <a:pt x="0" y="637344"/>
                    <a:pt x="0" y="400291"/>
                  </a:cubicBezTo>
                  <a:lnTo>
                    <a:pt x="0" y="400230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5" name="Frihåndsform: figur 14">
              <a:extLst>
                <a:ext uri="{FF2B5EF4-FFF2-40B4-BE49-F238E27FC236}">
                  <a16:creationId xmlns:a16="http://schemas.microsoft.com/office/drawing/2014/main" id="{8CFE373D-EE51-8A5F-2B5B-735840F78F68}"/>
                </a:ext>
              </a:extLst>
            </p:cNvPr>
            <p:cNvSpPr/>
            <p:nvPr/>
          </p:nvSpPr>
          <p:spPr>
            <a:xfrm>
              <a:off x="14204575" y="3248590"/>
              <a:ext cx="515639" cy="1015890"/>
            </a:xfrm>
            <a:custGeom>
              <a:avLst/>
              <a:gdLst>
                <a:gd name="connsiteX0" fmla="*/ 404774 w 515639"/>
                <a:gd name="connsiteY0" fmla="*/ 1015890 h 1015890"/>
                <a:gd name="connsiteX1" fmla="*/ 130820 w 515639"/>
                <a:gd name="connsiteY1" fmla="*/ 749621 h 1015890"/>
                <a:gd name="connsiteX2" fmla="*/ 130820 w 515639"/>
                <a:gd name="connsiteY2" fmla="*/ 390986 h 1015890"/>
                <a:gd name="connsiteX3" fmla="*/ 0 w 515639"/>
                <a:gd name="connsiteY3" fmla="*/ 390986 h 1015890"/>
                <a:gd name="connsiteX4" fmla="*/ 0 w 515639"/>
                <a:gd name="connsiteY4" fmla="*/ 227814 h 1015890"/>
                <a:gd name="connsiteX5" fmla="*/ 130820 w 515639"/>
                <a:gd name="connsiteY5" fmla="*/ 227814 h 1015890"/>
                <a:gd name="connsiteX6" fmla="*/ 130820 w 515639"/>
                <a:gd name="connsiteY6" fmla="*/ 0 h 1015890"/>
                <a:gd name="connsiteX7" fmla="*/ 324754 w 515639"/>
                <a:gd name="connsiteY7" fmla="*/ 0 h 1015890"/>
                <a:gd name="connsiteX8" fmla="*/ 324754 w 515639"/>
                <a:gd name="connsiteY8" fmla="*/ 227814 h 1015890"/>
                <a:gd name="connsiteX9" fmla="*/ 515518 w 515639"/>
                <a:gd name="connsiteY9" fmla="*/ 227814 h 1015890"/>
                <a:gd name="connsiteX10" fmla="*/ 515518 w 515639"/>
                <a:gd name="connsiteY10" fmla="*/ 390986 h 1015890"/>
                <a:gd name="connsiteX11" fmla="*/ 324754 w 515639"/>
                <a:gd name="connsiteY11" fmla="*/ 390986 h 1015890"/>
                <a:gd name="connsiteX12" fmla="*/ 324754 w 515639"/>
                <a:gd name="connsiteY12" fmla="*/ 731138 h 1015890"/>
                <a:gd name="connsiteX13" fmla="*/ 424810 w 515639"/>
                <a:gd name="connsiteY13" fmla="*/ 845072 h 1015890"/>
                <a:gd name="connsiteX14" fmla="*/ 515640 w 515639"/>
                <a:gd name="connsiteY14" fmla="*/ 826589 h 1015890"/>
                <a:gd name="connsiteX15" fmla="*/ 515518 w 515639"/>
                <a:gd name="connsiteY15" fmla="*/ 1000484 h 1015890"/>
                <a:gd name="connsiteX16" fmla="*/ 404774 w 515639"/>
                <a:gd name="connsiteY16" fmla="*/ 101589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5639" h="1015890">
                  <a:moveTo>
                    <a:pt x="404774" y="1015890"/>
                  </a:moveTo>
                  <a:cubicBezTo>
                    <a:pt x="247782" y="1015890"/>
                    <a:pt x="130820" y="931221"/>
                    <a:pt x="130820" y="749621"/>
                  </a:cubicBezTo>
                  <a:lnTo>
                    <a:pt x="130820" y="390986"/>
                  </a:lnTo>
                  <a:lnTo>
                    <a:pt x="0" y="390986"/>
                  </a:lnTo>
                  <a:lnTo>
                    <a:pt x="0" y="227814"/>
                  </a:lnTo>
                  <a:lnTo>
                    <a:pt x="130820" y="227814"/>
                  </a:lnTo>
                  <a:lnTo>
                    <a:pt x="130820" y="0"/>
                  </a:lnTo>
                  <a:lnTo>
                    <a:pt x="324754" y="0"/>
                  </a:lnTo>
                  <a:lnTo>
                    <a:pt x="324754" y="227814"/>
                  </a:lnTo>
                  <a:lnTo>
                    <a:pt x="515518" y="227814"/>
                  </a:lnTo>
                  <a:lnTo>
                    <a:pt x="515518" y="390986"/>
                  </a:lnTo>
                  <a:lnTo>
                    <a:pt x="324754" y="390986"/>
                  </a:lnTo>
                  <a:lnTo>
                    <a:pt x="324754" y="731138"/>
                  </a:lnTo>
                  <a:cubicBezTo>
                    <a:pt x="324754" y="805022"/>
                    <a:pt x="364744" y="845072"/>
                    <a:pt x="424810" y="845072"/>
                  </a:cubicBezTo>
                  <a:cubicBezTo>
                    <a:pt x="454070" y="845072"/>
                    <a:pt x="487924" y="840452"/>
                    <a:pt x="515640" y="826589"/>
                  </a:cubicBezTo>
                  <a:lnTo>
                    <a:pt x="515518" y="1000484"/>
                  </a:lnTo>
                  <a:cubicBezTo>
                    <a:pt x="476138" y="1011981"/>
                    <a:pt x="449478" y="1015890"/>
                    <a:pt x="404774" y="1015890"/>
                  </a:cubicBez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6" name="Frihåndsform: figur 15">
              <a:extLst>
                <a:ext uri="{FF2B5EF4-FFF2-40B4-BE49-F238E27FC236}">
                  <a16:creationId xmlns:a16="http://schemas.microsoft.com/office/drawing/2014/main" id="{A03EFA0C-58F5-E13A-E3F1-917FEC86F53D}"/>
                </a:ext>
              </a:extLst>
            </p:cNvPr>
            <p:cNvSpPr/>
            <p:nvPr/>
          </p:nvSpPr>
          <p:spPr>
            <a:xfrm>
              <a:off x="15237847" y="3248590"/>
              <a:ext cx="785001" cy="1015947"/>
            </a:xfrm>
            <a:custGeom>
              <a:avLst/>
              <a:gdLst>
                <a:gd name="connsiteX0" fmla="*/ 193934 w 785001"/>
                <a:gd name="connsiteY0" fmla="*/ 914335 h 1015947"/>
                <a:gd name="connsiteX1" fmla="*/ 193934 w 785001"/>
                <a:gd name="connsiteY1" fmla="*/ 1003625 h 1015947"/>
                <a:gd name="connsiteX2" fmla="*/ 0 w 785001"/>
                <a:gd name="connsiteY2" fmla="*/ 1003625 h 1015947"/>
                <a:gd name="connsiteX3" fmla="*/ 0 w 785001"/>
                <a:gd name="connsiteY3" fmla="*/ 0 h 1015947"/>
                <a:gd name="connsiteX4" fmla="*/ 193934 w 785001"/>
                <a:gd name="connsiteY4" fmla="*/ 0 h 1015947"/>
                <a:gd name="connsiteX5" fmla="*/ 193934 w 785001"/>
                <a:gd name="connsiteY5" fmla="*/ 314022 h 1015947"/>
                <a:gd name="connsiteX6" fmla="*/ 418632 w 785001"/>
                <a:gd name="connsiteY6" fmla="*/ 215490 h 1015947"/>
                <a:gd name="connsiteX7" fmla="*/ 785002 w 785001"/>
                <a:gd name="connsiteY7" fmla="*/ 615720 h 1015947"/>
                <a:gd name="connsiteX8" fmla="*/ 415585 w 785001"/>
                <a:gd name="connsiteY8" fmla="*/ 1015947 h 1015947"/>
                <a:gd name="connsiteX9" fmla="*/ 193934 w 785001"/>
                <a:gd name="connsiteY9" fmla="*/ 914335 h 1015947"/>
                <a:gd name="connsiteX10" fmla="*/ 592612 w 785001"/>
                <a:gd name="connsiteY10" fmla="*/ 615720 h 1015947"/>
                <a:gd name="connsiteX11" fmla="*/ 387909 w 785001"/>
                <a:gd name="connsiteY11" fmla="*/ 383284 h 1015947"/>
                <a:gd name="connsiteX12" fmla="*/ 181660 w 785001"/>
                <a:gd name="connsiteY12" fmla="*/ 615720 h 1015947"/>
                <a:gd name="connsiteX13" fmla="*/ 387909 w 785001"/>
                <a:gd name="connsiteY13" fmla="*/ 848153 h 1015947"/>
                <a:gd name="connsiteX14" fmla="*/ 592612 w 785001"/>
                <a:gd name="connsiteY14" fmla="*/ 615720 h 1015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5001" h="1015947">
                  <a:moveTo>
                    <a:pt x="193934" y="914335"/>
                  </a:moveTo>
                  <a:lnTo>
                    <a:pt x="193934" y="1003625"/>
                  </a:lnTo>
                  <a:lnTo>
                    <a:pt x="0" y="1003625"/>
                  </a:lnTo>
                  <a:lnTo>
                    <a:pt x="0" y="0"/>
                  </a:lnTo>
                  <a:lnTo>
                    <a:pt x="193934" y="0"/>
                  </a:lnTo>
                  <a:lnTo>
                    <a:pt x="193934" y="314022"/>
                  </a:lnTo>
                  <a:cubicBezTo>
                    <a:pt x="238516" y="255542"/>
                    <a:pt x="321665" y="215490"/>
                    <a:pt x="418632" y="215490"/>
                  </a:cubicBezTo>
                  <a:cubicBezTo>
                    <a:pt x="648004" y="215490"/>
                    <a:pt x="785002" y="378662"/>
                    <a:pt x="785002" y="615720"/>
                  </a:cubicBezTo>
                  <a:cubicBezTo>
                    <a:pt x="785002" y="852778"/>
                    <a:pt x="648004" y="1015947"/>
                    <a:pt x="415585" y="1015947"/>
                  </a:cubicBezTo>
                  <a:cubicBezTo>
                    <a:pt x="320121" y="1015947"/>
                    <a:pt x="232379" y="975953"/>
                    <a:pt x="193934" y="914335"/>
                  </a:cubicBezTo>
                  <a:close/>
                  <a:moveTo>
                    <a:pt x="592612" y="615720"/>
                  </a:moveTo>
                  <a:cubicBezTo>
                    <a:pt x="592612" y="475655"/>
                    <a:pt x="511007" y="383284"/>
                    <a:pt x="387909" y="383284"/>
                  </a:cubicBezTo>
                  <a:cubicBezTo>
                    <a:pt x="264770" y="383284"/>
                    <a:pt x="181660" y="475655"/>
                    <a:pt x="181660" y="615720"/>
                  </a:cubicBezTo>
                  <a:cubicBezTo>
                    <a:pt x="181660" y="755786"/>
                    <a:pt x="263225" y="848153"/>
                    <a:pt x="387909" y="848153"/>
                  </a:cubicBezTo>
                  <a:cubicBezTo>
                    <a:pt x="512552" y="848153"/>
                    <a:pt x="592612" y="755786"/>
                    <a:pt x="592612" y="615720"/>
                  </a:cubicBez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7" name="Frihåndsform: figur 16">
              <a:extLst>
                <a:ext uri="{FF2B5EF4-FFF2-40B4-BE49-F238E27FC236}">
                  <a16:creationId xmlns:a16="http://schemas.microsoft.com/office/drawing/2014/main" id="{1B57FB1D-4B68-D7E7-1F56-3F5B6CADC15D}"/>
                </a:ext>
              </a:extLst>
            </p:cNvPr>
            <p:cNvSpPr/>
            <p:nvPr/>
          </p:nvSpPr>
          <p:spPr>
            <a:xfrm>
              <a:off x="16115630" y="3476396"/>
              <a:ext cx="723432" cy="788132"/>
            </a:xfrm>
            <a:custGeom>
              <a:avLst/>
              <a:gdLst>
                <a:gd name="connsiteX0" fmla="*/ 723432 w 723432"/>
                <a:gd name="connsiteY0" fmla="*/ 775811 h 788132"/>
                <a:gd name="connsiteX1" fmla="*/ 529498 w 723432"/>
                <a:gd name="connsiteY1" fmla="*/ 775811 h 788132"/>
                <a:gd name="connsiteX2" fmla="*/ 529498 w 723432"/>
                <a:gd name="connsiteY2" fmla="*/ 658853 h 788132"/>
                <a:gd name="connsiteX3" fmla="*/ 283220 w 723432"/>
                <a:gd name="connsiteY3" fmla="*/ 788133 h 788132"/>
                <a:gd name="connsiteX4" fmla="*/ 0 w 723432"/>
                <a:gd name="connsiteY4" fmla="*/ 508005 h 788132"/>
                <a:gd name="connsiteX5" fmla="*/ 0 w 723432"/>
                <a:gd name="connsiteY5" fmla="*/ 0 h 788132"/>
                <a:gd name="connsiteX6" fmla="*/ 193934 w 723432"/>
                <a:gd name="connsiteY6" fmla="*/ 0 h 788132"/>
                <a:gd name="connsiteX7" fmla="*/ 193934 w 723432"/>
                <a:gd name="connsiteY7" fmla="*/ 461789 h 788132"/>
                <a:gd name="connsiteX8" fmla="*/ 341701 w 723432"/>
                <a:gd name="connsiteY8" fmla="*/ 615718 h 788132"/>
                <a:gd name="connsiteX9" fmla="*/ 529498 w 723432"/>
                <a:gd name="connsiteY9" fmla="*/ 340211 h 788132"/>
                <a:gd name="connsiteX10" fmla="*/ 529498 w 723432"/>
                <a:gd name="connsiteY10" fmla="*/ 0 h 788132"/>
                <a:gd name="connsiteX11" fmla="*/ 723432 w 723432"/>
                <a:gd name="connsiteY11" fmla="*/ 0 h 788132"/>
                <a:gd name="connsiteX12" fmla="*/ 723432 w 723432"/>
                <a:gd name="connsiteY12" fmla="*/ 775811 h 78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32" h="788132">
                  <a:moveTo>
                    <a:pt x="723432" y="775811"/>
                  </a:moveTo>
                  <a:lnTo>
                    <a:pt x="529498" y="775811"/>
                  </a:lnTo>
                  <a:lnTo>
                    <a:pt x="529498" y="658853"/>
                  </a:lnTo>
                  <a:cubicBezTo>
                    <a:pt x="480283" y="734277"/>
                    <a:pt x="392542" y="788133"/>
                    <a:pt x="283220" y="788133"/>
                  </a:cubicBezTo>
                  <a:cubicBezTo>
                    <a:pt x="115417" y="788133"/>
                    <a:pt x="0" y="677279"/>
                    <a:pt x="0" y="508005"/>
                  </a:cubicBezTo>
                  <a:lnTo>
                    <a:pt x="0" y="0"/>
                  </a:lnTo>
                  <a:lnTo>
                    <a:pt x="193934" y="0"/>
                  </a:lnTo>
                  <a:lnTo>
                    <a:pt x="193934" y="461789"/>
                  </a:lnTo>
                  <a:cubicBezTo>
                    <a:pt x="193934" y="552620"/>
                    <a:pt x="250870" y="615718"/>
                    <a:pt x="341701" y="615718"/>
                  </a:cubicBezTo>
                  <a:cubicBezTo>
                    <a:pt x="461711" y="615718"/>
                    <a:pt x="529498" y="514105"/>
                    <a:pt x="529498" y="340211"/>
                  </a:cubicBezTo>
                  <a:lnTo>
                    <a:pt x="529498" y="0"/>
                  </a:lnTo>
                  <a:lnTo>
                    <a:pt x="723432" y="0"/>
                  </a:lnTo>
                  <a:lnTo>
                    <a:pt x="723432" y="775811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8" name="Frihåndsform: figur 17">
              <a:extLst>
                <a:ext uri="{FF2B5EF4-FFF2-40B4-BE49-F238E27FC236}">
                  <a16:creationId xmlns:a16="http://schemas.microsoft.com/office/drawing/2014/main" id="{85CBBEDA-71B1-4F02-5F8E-6740D0350907}"/>
                </a:ext>
              </a:extLst>
            </p:cNvPr>
            <p:cNvSpPr/>
            <p:nvPr/>
          </p:nvSpPr>
          <p:spPr>
            <a:xfrm>
              <a:off x="16930827" y="3464092"/>
              <a:ext cx="637194" cy="800460"/>
            </a:xfrm>
            <a:custGeom>
              <a:avLst/>
              <a:gdLst>
                <a:gd name="connsiteX0" fmla="*/ 0 w 637194"/>
                <a:gd name="connsiteY0" fmla="*/ 571044 h 800460"/>
                <a:gd name="connsiteX1" fmla="*/ 158537 w 637194"/>
                <a:gd name="connsiteY1" fmla="*/ 506406 h 800460"/>
                <a:gd name="connsiteX2" fmla="*/ 338653 w 637194"/>
                <a:gd name="connsiteY2" fmla="*/ 649552 h 800460"/>
                <a:gd name="connsiteX3" fmla="*/ 458704 w 637194"/>
                <a:gd name="connsiteY3" fmla="*/ 561802 h 800460"/>
                <a:gd name="connsiteX4" fmla="*/ 35398 w 637194"/>
                <a:gd name="connsiteY4" fmla="*/ 217029 h 800460"/>
                <a:gd name="connsiteX5" fmla="*/ 310937 w 637194"/>
                <a:gd name="connsiteY5" fmla="*/ 0 h 800460"/>
                <a:gd name="connsiteX6" fmla="*/ 623417 w 637194"/>
                <a:gd name="connsiteY6" fmla="*/ 189361 h 800460"/>
                <a:gd name="connsiteX7" fmla="*/ 466385 w 637194"/>
                <a:gd name="connsiteY7" fmla="*/ 255543 h 800460"/>
                <a:gd name="connsiteX8" fmla="*/ 313985 w 637194"/>
                <a:gd name="connsiteY8" fmla="*/ 143206 h 800460"/>
                <a:gd name="connsiteX9" fmla="*/ 210840 w 637194"/>
                <a:gd name="connsiteY9" fmla="*/ 214009 h 800460"/>
                <a:gd name="connsiteX10" fmla="*/ 637195 w 637194"/>
                <a:gd name="connsiteY10" fmla="*/ 558783 h 800460"/>
                <a:gd name="connsiteX11" fmla="*/ 338572 w 637194"/>
                <a:gd name="connsiteY11" fmla="*/ 800460 h 800460"/>
                <a:gd name="connsiteX12" fmla="*/ 0 w 637194"/>
                <a:gd name="connsiteY12" fmla="*/ 571105 h 800460"/>
                <a:gd name="connsiteX13" fmla="*/ 0 w 637194"/>
                <a:gd name="connsiteY13" fmla="*/ 571044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7194" h="800460">
                  <a:moveTo>
                    <a:pt x="0" y="571044"/>
                  </a:moveTo>
                  <a:lnTo>
                    <a:pt x="158537" y="506406"/>
                  </a:lnTo>
                  <a:cubicBezTo>
                    <a:pt x="181621" y="584910"/>
                    <a:pt x="241645" y="649552"/>
                    <a:pt x="338653" y="649552"/>
                  </a:cubicBezTo>
                  <a:cubicBezTo>
                    <a:pt x="410993" y="649552"/>
                    <a:pt x="458704" y="611037"/>
                    <a:pt x="458704" y="561802"/>
                  </a:cubicBezTo>
                  <a:cubicBezTo>
                    <a:pt x="458704" y="415575"/>
                    <a:pt x="35398" y="511026"/>
                    <a:pt x="35398" y="217029"/>
                  </a:cubicBezTo>
                  <a:cubicBezTo>
                    <a:pt x="35398" y="95451"/>
                    <a:pt x="141630" y="0"/>
                    <a:pt x="310937" y="0"/>
                  </a:cubicBezTo>
                  <a:cubicBezTo>
                    <a:pt x="461752" y="0"/>
                    <a:pt x="589524" y="76965"/>
                    <a:pt x="623417" y="189361"/>
                  </a:cubicBezTo>
                  <a:lnTo>
                    <a:pt x="466385" y="255543"/>
                  </a:lnTo>
                  <a:cubicBezTo>
                    <a:pt x="444845" y="181659"/>
                    <a:pt x="377099" y="143206"/>
                    <a:pt x="313985" y="143206"/>
                  </a:cubicBezTo>
                  <a:cubicBezTo>
                    <a:pt x="250911" y="143206"/>
                    <a:pt x="210840" y="169394"/>
                    <a:pt x="210840" y="214009"/>
                  </a:cubicBezTo>
                  <a:cubicBezTo>
                    <a:pt x="210840" y="350994"/>
                    <a:pt x="637195" y="241738"/>
                    <a:pt x="637195" y="558783"/>
                  </a:cubicBezTo>
                  <a:cubicBezTo>
                    <a:pt x="637195" y="692683"/>
                    <a:pt x="517185" y="800460"/>
                    <a:pt x="338572" y="800460"/>
                  </a:cubicBezTo>
                  <a:cubicBezTo>
                    <a:pt x="150815" y="800460"/>
                    <a:pt x="38445" y="685043"/>
                    <a:pt x="0" y="571105"/>
                  </a:cubicBezTo>
                  <a:lnTo>
                    <a:pt x="0" y="571044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80932" y="5488398"/>
            <a:ext cx="8230136" cy="396070"/>
          </a:xfrm>
        </p:spPr>
        <p:txBody>
          <a:bodyPr lIns="0" tIns="0" rIns="0" bIns="0" anchor="t"/>
          <a:lstStyle>
            <a:lvl1pPr algn="ctr">
              <a:lnSpc>
                <a:spcPts val="3250"/>
              </a:lnSpc>
              <a:defRPr sz="25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54352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bilde 19">
            <a:extLst>
              <a:ext uri="{FF2B5EF4-FFF2-40B4-BE49-F238E27FC236}">
                <a16:creationId xmlns:a16="http://schemas.microsoft.com/office/drawing/2014/main" id="{80B6B162-50AD-892D-89AB-045D84E3B0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69481" y="2468"/>
            <a:ext cx="5722519" cy="6853064"/>
          </a:xfrm>
          <a:custGeom>
            <a:avLst/>
            <a:gdLst>
              <a:gd name="connsiteX0" fmla="*/ 3783742 w 11444293"/>
              <a:gd name="connsiteY0" fmla="*/ 0 h 13706128"/>
              <a:gd name="connsiteX1" fmla="*/ 11444293 w 11444293"/>
              <a:gd name="connsiteY1" fmla="*/ 0 h 13706128"/>
              <a:gd name="connsiteX2" fmla="*/ 11444293 w 11444293"/>
              <a:gd name="connsiteY2" fmla="*/ 13706128 h 13706128"/>
              <a:gd name="connsiteX3" fmla="*/ 0 w 11444293"/>
              <a:gd name="connsiteY3" fmla="*/ 13706128 h 1370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44293" h="13706128">
                <a:moveTo>
                  <a:pt x="3783742" y="0"/>
                </a:moveTo>
                <a:lnTo>
                  <a:pt x="11444293" y="0"/>
                </a:lnTo>
                <a:lnTo>
                  <a:pt x="11444293" y="13706128"/>
                </a:lnTo>
                <a:lnTo>
                  <a:pt x="0" y="13706128"/>
                </a:lnTo>
                <a:close/>
              </a:path>
            </a:pathLst>
          </a:custGeom>
        </p:spPr>
        <p:txBody>
          <a:bodyPr wrap="square" tIns="1462174">
            <a:no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9931" y="6004306"/>
            <a:ext cx="3694734" cy="370933"/>
          </a:xfrm>
          <a:prstGeom prst="rect">
            <a:avLst/>
          </a:prstGeom>
        </p:spPr>
      </p:pic>
      <p:sp>
        <p:nvSpPr>
          <p:cNvPr id="7" name="Undertittel 2">
            <a:extLst>
              <a:ext uri="{FF2B5EF4-FFF2-40B4-BE49-F238E27FC236}">
                <a16:creationId xmlns:a16="http://schemas.microsoft.com/office/drawing/2014/main" id="{89D72BC5-0093-A329-07B5-EEBAD091D6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9931" y="1341484"/>
            <a:ext cx="7226770" cy="396070"/>
          </a:xfrm>
        </p:spPr>
        <p:txBody>
          <a:bodyPr>
            <a:sp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buNone/>
              <a:defRPr sz="2500">
                <a:solidFill>
                  <a:schemeClr val="accent5"/>
                </a:solidFill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7643118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2CE11380-6D94-BBB1-1C5C-627DE7048F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7906" y="0"/>
            <a:ext cx="5004094" cy="5537200"/>
          </a:xfrm>
          <a:custGeom>
            <a:avLst/>
            <a:gdLst>
              <a:gd name="connsiteX0" fmla="*/ 3057220 w 10007536"/>
              <a:gd name="connsiteY0" fmla="*/ 0 h 11074400"/>
              <a:gd name="connsiteX1" fmla="*/ 10007536 w 10007536"/>
              <a:gd name="connsiteY1" fmla="*/ 0 h 11074400"/>
              <a:gd name="connsiteX2" fmla="*/ 10007536 w 10007536"/>
              <a:gd name="connsiteY2" fmla="*/ 11074400 h 11074400"/>
              <a:gd name="connsiteX3" fmla="*/ 0 w 10007536"/>
              <a:gd name="connsiteY3" fmla="*/ 11074400 h 110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7536" h="11074400">
                <a:moveTo>
                  <a:pt x="3057220" y="0"/>
                </a:moveTo>
                <a:lnTo>
                  <a:pt x="10007536" y="0"/>
                </a:lnTo>
                <a:lnTo>
                  <a:pt x="10007536" y="11074400"/>
                </a:lnTo>
                <a:lnTo>
                  <a:pt x="0" y="11074400"/>
                </a:lnTo>
                <a:close/>
              </a:path>
            </a:pathLst>
          </a:custGeom>
        </p:spPr>
        <p:txBody>
          <a:bodyPr wrap="square" tIns="1462174">
            <a:no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4" name="Frihåndsform: figur 13">
            <a:extLst>
              <a:ext uri="{FF2B5EF4-FFF2-40B4-BE49-F238E27FC236}">
                <a16:creationId xmlns:a16="http://schemas.microsoft.com/office/drawing/2014/main" id="{4F3113FC-D55B-C785-66A9-D057D6E2F494}"/>
              </a:ext>
            </a:extLst>
          </p:cNvPr>
          <p:cNvSpPr/>
          <p:nvPr/>
        </p:nvSpPr>
        <p:spPr>
          <a:xfrm>
            <a:off x="0" y="5537200"/>
            <a:ext cx="7188668" cy="1320800"/>
          </a:xfrm>
          <a:custGeom>
            <a:avLst/>
            <a:gdLst>
              <a:gd name="connsiteX0" fmla="*/ 0 w 14376400"/>
              <a:gd name="connsiteY0" fmla="*/ 0 h 2641600"/>
              <a:gd name="connsiteX1" fmla="*/ 14376400 w 14376400"/>
              <a:gd name="connsiteY1" fmla="*/ 0 h 2641600"/>
              <a:gd name="connsiteX2" fmla="*/ 13675768 w 14376400"/>
              <a:gd name="connsiteY2" fmla="*/ 2641600 h 2641600"/>
              <a:gd name="connsiteX3" fmla="*/ 0 w 14376400"/>
              <a:gd name="connsiteY3" fmla="*/ 2641600 h 264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76400" h="2641600">
                <a:moveTo>
                  <a:pt x="0" y="0"/>
                </a:moveTo>
                <a:lnTo>
                  <a:pt x="14376400" y="0"/>
                </a:lnTo>
                <a:lnTo>
                  <a:pt x="13675768" y="2641600"/>
                </a:lnTo>
                <a:lnTo>
                  <a:pt x="0" y="2641600"/>
                </a:lnTo>
                <a:close/>
              </a:path>
            </a:pathLst>
          </a:custGeom>
          <a:solidFill>
            <a:srgbClr val="F6FF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28453" y="6004306"/>
            <a:ext cx="3694734" cy="370933"/>
          </a:xfrm>
          <a:prstGeom prst="rect">
            <a:avLst/>
          </a:prstGeom>
        </p:spPr>
      </p:pic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EB09DC05-FE3F-4947-7FBF-EB1E98B4AA36}"/>
              </a:ext>
            </a:extLst>
          </p:cNvPr>
          <p:cNvSpPr/>
          <p:nvPr/>
        </p:nvSpPr>
        <p:spPr>
          <a:xfrm>
            <a:off x="7554830" y="527797"/>
            <a:ext cx="4038111" cy="4662488"/>
          </a:xfrm>
          <a:custGeom>
            <a:avLst/>
            <a:gdLst>
              <a:gd name="connsiteX0" fmla="*/ 8075697 w 8075696"/>
              <a:gd name="connsiteY0" fmla="*/ 0 h 9324975"/>
              <a:gd name="connsiteX1" fmla="*/ 2574276 w 8075696"/>
              <a:gd name="connsiteY1" fmla="*/ 0 h 9324975"/>
              <a:gd name="connsiteX2" fmla="*/ 0 w 8075696"/>
              <a:gd name="connsiteY2" fmla="*/ 9324975 h 9324975"/>
              <a:gd name="connsiteX3" fmla="*/ 8075697 w 8075696"/>
              <a:gd name="connsiteY3" fmla="*/ 9324975 h 9324975"/>
              <a:gd name="connsiteX4" fmla="*/ 8075697 w 8075696"/>
              <a:gd name="connsiteY4" fmla="*/ 0 h 932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5696" h="9324975">
                <a:moveTo>
                  <a:pt x="8075697" y="0"/>
                </a:moveTo>
                <a:lnTo>
                  <a:pt x="2574276" y="0"/>
                </a:lnTo>
                <a:lnTo>
                  <a:pt x="0" y="9324975"/>
                </a:lnTo>
                <a:lnTo>
                  <a:pt x="8075697" y="9324975"/>
                </a:lnTo>
                <a:lnTo>
                  <a:pt x="8075697" y="0"/>
                </a:lnTo>
                <a:close/>
              </a:path>
            </a:pathLst>
          </a:custGeom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19" name="Frihåndsform: figur 18">
            <a:extLst>
              <a:ext uri="{FF2B5EF4-FFF2-40B4-BE49-F238E27FC236}">
                <a16:creationId xmlns:a16="http://schemas.microsoft.com/office/drawing/2014/main" id="{4EB1DD82-6345-EFFD-F845-0FFD5D524B12}"/>
              </a:ext>
            </a:extLst>
          </p:cNvPr>
          <p:cNvSpPr/>
          <p:nvPr/>
        </p:nvSpPr>
        <p:spPr>
          <a:xfrm>
            <a:off x="7554830" y="527797"/>
            <a:ext cx="4038111" cy="4662488"/>
          </a:xfrm>
          <a:custGeom>
            <a:avLst/>
            <a:gdLst>
              <a:gd name="connsiteX0" fmla="*/ 8075697 w 8075696"/>
              <a:gd name="connsiteY0" fmla="*/ 0 h 9324975"/>
              <a:gd name="connsiteX1" fmla="*/ 2574276 w 8075696"/>
              <a:gd name="connsiteY1" fmla="*/ 0 h 9324975"/>
              <a:gd name="connsiteX2" fmla="*/ 0 w 8075696"/>
              <a:gd name="connsiteY2" fmla="*/ 9324975 h 9324975"/>
              <a:gd name="connsiteX3" fmla="*/ 8075697 w 8075696"/>
              <a:gd name="connsiteY3" fmla="*/ 9324975 h 9324975"/>
              <a:gd name="connsiteX4" fmla="*/ 8075697 w 8075696"/>
              <a:gd name="connsiteY4" fmla="*/ 0 h 932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5696" h="9324975">
                <a:moveTo>
                  <a:pt x="8075697" y="0"/>
                </a:moveTo>
                <a:lnTo>
                  <a:pt x="2574276" y="0"/>
                </a:lnTo>
                <a:lnTo>
                  <a:pt x="0" y="9324975"/>
                </a:lnTo>
                <a:lnTo>
                  <a:pt x="8075697" y="9324975"/>
                </a:lnTo>
                <a:lnTo>
                  <a:pt x="8075697" y="0"/>
                </a:lnTo>
                <a:close/>
              </a:path>
            </a:pathLst>
          </a:custGeom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1510165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73D054-542E-9DA5-534F-C171C30F1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72126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AC8B36A-6D73-D7B2-DD53-B6BC78C29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2" y="1973288"/>
            <a:ext cx="7226770" cy="1474763"/>
          </a:xfrm>
        </p:spPr>
        <p:txBody>
          <a:bodyPr lIns="0" tIns="0" rIns="0" bIns="0" anchor="b">
            <a:spAutoFit/>
          </a:bodyPr>
          <a:lstStyle>
            <a:lvl1pPr>
              <a:lnSpc>
                <a:spcPts val="5750"/>
              </a:lnSpc>
              <a:defRPr sz="50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1541C58-822B-5751-0208-D9D58A3F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8580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74F5C6A-6E45-EDF0-BFF9-1DA4B5F8E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8580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8D2BFF-9BB9-A83C-AB7D-12F87D9A9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8580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0E841E77-5A86-FDD6-3534-FFFCAA1C2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3660007"/>
            <a:ext cx="7226770" cy="39607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EB21C84-2E89-AECF-FA72-B39BA9B5CB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63494" y="307207"/>
            <a:ext cx="3403822" cy="18658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125" b="0" i="0" u="none" cap="none">
                <a:solidFill>
                  <a:schemeClr val="accent5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968525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bilde 19">
            <a:extLst>
              <a:ext uri="{FF2B5EF4-FFF2-40B4-BE49-F238E27FC236}">
                <a16:creationId xmlns:a16="http://schemas.microsoft.com/office/drawing/2014/main" id="{80B6B162-50AD-892D-89AB-045D84E3B0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69481" y="2468"/>
            <a:ext cx="5722519" cy="6853064"/>
          </a:xfrm>
          <a:custGeom>
            <a:avLst/>
            <a:gdLst>
              <a:gd name="connsiteX0" fmla="*/ 3783742 w 11444293"/>
              <a:gd name="connsiteY0" fmla="*/ 0 h 13706128"/>
              <a:gd name="connsiteX1" fmla="*/ 11444293 w 11444293"/>
              <a:gd name="connsiteY1" fmla="*/ 0 h 13706128"/>
              <a:gd name="connsiteX2" fmla="*/ 11444293 w 11444293"/>
              <a:gd name="connsiteY2" fmla="*/ 13706128 h 13706128"/>
              <a:gd name="connsiteX3" fmla="*/ 0 w 11444293"/>
              <a:gd name="connsiteY3" fmla="*/ 13706128 h 1370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44293" h="13706128">
                <a:moveTo>
                  <a:pt x="3783742" y="0"/>
                </a:moveTo>
                <a:lnTo>
                  <a:pt x="11444293" y="0"/>
                </a:lnTo>
                <a:lnTo>
                  <a:pt x="11444293" y="13706128"/>
                </a:lnTo>
                <a:lnTo>
                  <a:pt x="0" y="13706128"/>
                </a:lnTo>
                <a:close/>
              </a:path>
            </a:pathLst>
          </a:custGeom>
        </p:spPr>
        <p:txBody>
          <a:bodyPr wrap="square" tIns="1462174">
            <a:no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9931" y="6004306"/>
            <a:ext cx="3694734" cy="370933"/>
          </a:xfrm>
          <a:prstGeom prst="rect">
            <a:avLst/>
          </a:prstGeom>
        </p:spPr>
      </p:pic>
      <p:sp>
        <p:nvSpPr>
          <p:cNvPr id="7" name="Undertittel 2">
            <a:extLst>
              <a:ext uri="{FF2B5EF4-FFF2-40B4-BE49-F238E27FC236}">
                <a16:creationId xmlns:a16="http://schemas.microsoft.com/office/drawing/2014/main" id="{89D72BC5-0093-A329-07B5-EEBAD091D6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9931" y="1341484"/>
            <a:ext cx="7226770" cy="396070"/>
          </a:xfrm>
        </p:spPr>
        <p:txBody>
          <a:bodyPr>
            <a:sp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buNone/>
              <a:defRPr sz="2500"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401891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FB51878F-024E-9F82-F81C-BC73F2A3D58F}"/>
              </a:ext>
            </a:extLst>
          </p:cNvPr>
          <p:cNvSpPr/>
          <p:nvPr/>
        </p:nvSpPr>
        <p:spPr>
          <a:xfrm>
            <a:off x="7966378" y="1"/>
            <a:ext cx="4226416" cy="6858000"/>
          </a:xfrm>
          <a:custGeom>
            <a:avLst/>
            <a:gdLst>
              <a:gd name="connsiteX0" fmla="*/ 3711981 w 8452281"/>
              <a:gd name="connsiteY0" fmla="*/ 0 h 13715999"/>
              <a:gd name="connsiteX1" fmla="*/ 8452281 w 8452281"/>
              <a:gd name="connsiteY1" fmla="*/ 0 h 13715999"/>
              <a:gd name="connsiteX2" fmla="*/ 8452281 w 8452281"/>
              <a:gd name="connsiteY2" fmla="*/ 13715999 h 13715999"/>
              <a:gd name="connsiteX3" fmla="*/ 0 w 8452281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52281" h="13715999">
                <a:moveTo>
                  <a:pt x="3711981" y="0"/>
                </a:moveTo>
                <a:lnTo>
                  <a:pt x="8452281" y="0"/>
                </a:lnTo>
                <a:lnTo>
                  <a:pt x="8452281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dk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AC8B36A-6D73-D7B2-DD53-B6BC78C29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2" y="1973288"/>
            <a:ext cx="7226770" cy="1474763"/>
          </a:xfrm>
        </p:spPr>
        <p:txBody>
          <a:bodyPr lIns="0" tIns="0" rIns="0" bIns="0" anchor="b">
            <a:spAutoFit/>
          </a:bodyPr>
          <a:lstStyle>
            <a:lvl1pPr>
              <a:lnSpc>
                <a:spcPts val="5750"/>
              </a:lnSpc>
              <a:defRPr sz="50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1541C58-822B-5751-0208-D9D58A3F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8580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74F5C6A-6E45-EDF0-BFF9-1DA4B5F8E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8580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8D2BFF-9BB9-A83C-AB7D-12F87D9A9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8580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0E841E77-5A86-FDD6-3534-FFFCAA1C2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3660007"/>
            <a:ext cx="7226770" cy="39607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EB21C84-2E89-AECF-FA72-B39BA9B5CB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16056" y="307207"/>
            <a:ext cx="2451260" cy="18658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125" b="0" i="0" u="none" cap="none">
                <a:solidFill>
                  <a:schemeClr val="accent5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5300062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944E39-DA8C-DDC0-2272-67C9AA54B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834B8EC-6585-7933-FA20-BDB65F3BB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93B292C-E5C7-B1F9-2598-07897ABD4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6950962-3F3B-D328-12D9-E87A18FDF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66821475-FC61-EDDB-6C3E-3C149BA9AA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31" y="2521527"/>
            <a:ext cx="4864417" cy="3655436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18F05D52-4101-FD95-F68F-B10C488DD5C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772525" y="2521527"/>
            <a:ext cx="4864417" cy="3655436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853937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592708"/>
            <a:ext cx="3441924" cy="220093"/>
          </a:xfrm>
        </p:spPr>
        <p:txBody>
          <a:bodyPr lIns="0" tIns="0" rIns="0" bIns="0"/>
          <a:lstStyle>
            <a:lvl1pPr>
              <a:lnSpc>
                <a:spcPts val="1900"/>
              </a:lnSpc>
              <a:defRPr sz="15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C93C86A-D0C7-CAC6-69AF-DF820F629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1" y="940377"/>
            <a:ext cx="10154311" cy="365543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837096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5"/>
            <a:ext cx="6540926" cy="1248002"/>
          </a:xfrm>
        </p:spPr>
        <p:txBody>
          <a:bodyPr lIns="0" tIns="0" rIns="0" bIns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CA46529-D8FA-2331-4A54-2FD493D99E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54853" y="4057650"/>
            <a:ext cx="7106112" cy="188122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82536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ed bil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31EE154A-3385-B9D2-D6D2-066EFEBEE64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82631" y="1911350"/>
            <a:ext cx="5524860" cy="41529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7" name="Plassholder for bilde 5">
            <a:extLst>
              <a:ext uri="{FF2B5EF4-FFF2-40B4-BE49-F238E27FC236}">
                <a16:creationId xmlns:a16="http://schemas.microsoft.com/office/drawing/2014/main" id="{56823147-B98B-0AE9-C885-BE4A78A2F173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191653" y="1911350"/>
            <a:ext cx="5524860" cy="41529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C097BBA5-8425-A3DA-73EF-13E5FD7D60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631" y="1441445"/>
            <a:ext cx="5524860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DCB6A94-6A38-29EC-4339-A705FBA532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1653" y="1441445"/>
            <a:ext cx="5524860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978759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9249" y="1484234"/>
            <a:ext cx="4540546" cy="396070"/>
          </a:xfrm>
        </p:spPr>
        <p:txBody>
          <a:bodyPr lIns="0" tIns="0" rIns="0" bIns="0">
            <a:spAutoFit/>
          </a:bodyPr>
          <a:lstStyle>
            <a:lvl1pPr>
              <a:lnSpc>
                <a:spcPts val="3250"/>
              </a:lnSpc>
              <a:defRPr sz="2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31EE154A-3385-B9D2-D6D2-066EFEBEE64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82632" y="476250"/>
            <a:ext cx="5181937" cy="5651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B7C29235-DDB1-B377-EFA0-CA255A5F35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09249" y="2388791"/>
            <a:ext cx="4540546" cy="373895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629886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31EE154A-3385-B9D2-D6D2-066EFEBEE64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82632" y="1670050"/>
            <a:ext cx="3632436" cy="2730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C097BBA5-8425-A3DA-73EF-13E5FD7D60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32" y="4680771"/>
            <a:ext cx="3632436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Tittel bilde</a:t>
            </a:r>
          </a:p>
        </p:txBody>
      </p:sp>
      <p:sp>
        <p:nvSpPr>
          <p:cNvPr id="12" name="Plassholder for tekst 6">
            <a:extLst>
              <a:ext uri="{FF2B5EF4-FFF2-40B4-BE49-F238E27FC236}">
                <a16:creationId xmlns:a16="http://schemas.microsoft.com/office/drawing/2014/main" id="{3B133294-DE02-5C8A-8EA8-676C66CCDD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2632" y="5177106"/>
            <a:ext cx="3632436" cy="8727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5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bilde 5">
            <a:extLst>
              <a:ext uri="{FF2B5EF4-FFF2-40B4-BE49-F238E27FC236}">
                <a16:creationId xmlns:a16="http://schemas.microsoft.com/office/drawing/2014/main" id="{B39D2D0D-308E-ABD6-5BF9-EC622C730099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4273828" y="1670050"/>
            <a:ext cx="3632436" cy="2730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BF67D051-1C5B-3DEC-D393-8A5035DC7C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73828" y="4680771"/>
            <a:ext cx="3632436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Tittel bilde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85770396-4237-BC72-D0CB-3EEB0D27176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73828" y="5177106"/>
            <a:ext cx="3632436" cy="8727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5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bilde 5">
            <a:extLst>
              <a:ext uri="{FF2B5EF4-FFF2-40B4-BE49-F238E27FC236}">
                <a16:creationId xmlns:a16="http://schemas.microsoft.com/office/drawing/2014/main" id="{932B751C-123B-C36F-94F3-A878A476D2C5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8065025" y="1670050"/>
            <a:ext cx="3632436" cy="2730500"/>
          </a:xfrm>
        </p:spPr>
        <p:txBody>
          <a:bodyPr tIns="1462174">
            <a:norm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7" name="Plassholder for tekst 6">
            <a:extLst>
              <a:ext uri="{FF2B5EF4-FFF2-40B4-BE49-F238E27FC236}">
                <a16:creationId xmlns:a16="http://schemas.microsoft.com/office/drawing/2014/main" id="{3E295BC1-B86F-C37B-257A-082F512489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5025" y="4680771"/>
            <a:ext cx="3632436" cy="2998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00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Tittel bilde</a:t>
            </a:r>
          </a:p>
        </p:txBody>
      </p:sp>
      <p:sp>
        <p:nvSpPr>
          <p:cNvPr id="18" name="Plassholder for tekst 6">
            <a:extLst>
              <a:ext uri="{FF2B5EF4-FFF2-40B4-BE49-F238E27FC236}">
                <a16:creationId xmlns:a16="http://schemas.microsoft.com/office/drawing/2014/main" id="{C398DA8D-8892-7092-65FC-8BA29430D1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5025" y="5177106"/>
            <a:ext cx="3632436" cy="8727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50" b="0" i="0" u="none" cap="none">
                <a:solidFill>
                  <a:srgbClr val="002730"/>
                </a:solidFill>
                <a:latin typeface="+mn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979792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BB9314E-30CE-32B6-DDE9-2AB87D591E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459971"/>
            <a:ext cx="3441924" cy="220093"/>
          </a:xfrm>
        </p:spPr>
        <p:txBody>
          <a:bodyPr lIns="0" tIns="0" rIns="0" bIns="0"/>
          <a:lstStyle>
            <a:lvl1pPr>
              <a:lnSpc>
                <a:spcPts val="1900"/>
              </a:lnSpc>
              <a:defRPr sz="1500">
                <a:solidFill>
                  <a:schemeClr val="lt1"/>
                </a:solidFill>
                <a:latin typeface="+mn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C93C86A-D0C7-CAC6-69AF-DF820F629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1" y="807641"/>
            <a:ext cx="10154311" cy="21272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791EB92A-F522-6442-D2B8-EF670832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22558" y="6381750"/>
            <a:ext cx="1577767" cy="1584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93054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BB9314E-30CE-32B6-DDE9-2AB87D591E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791EB92A-F522-6442-D2B8-EF670832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22558" y="6381750"/>
            <a:ext cx="1577767" cy="1584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948F69D-4C9B-1BB3-2380-94D9B81FE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38981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">
            <a:extLst>
              <a:ext uri="{FF2B5EF4-FFF2-40B4-BE49-F238E27FC236}">
                <a16:creationId xmlns:a16="http://schemas.microsoft.com/office/drawing/2014/main" id="{A8D65F5C-27DD-15DA-7C86-4B72B09EE08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832631" y="3448050"/>
            <a:ext cx="3359369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791EB92A-F522-6442-D2B8-EF670832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22558" y="6381750"/>
            <a:ext cx="1577767" cy="1584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948F69D-4C9B-1BB3-2380-94D9B81FE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4397354" cy="2212144"/>
          </a:xfrm>
        </p:spPr>
        <p:txBody>
          <a:bodyPr lIns="0" tIns="0" rIns="0" bIns="0" anchor="t">
            <a:spAutoFit/>
          </a:bodyPr>
          <a:lstStyle>
            <a:lvl1pPr algn="l">
              <a:lnSpc>
                <a:spcPts val="5750"/>
              </a:lnSpc>
              <a:defRPr sz="5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DACF1581-AAB9-BED5-8B70-D1E56D50700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80407" y="0"/>
            <a:ext cx="3359369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0" name="Plassholder for bilde 1">
            <a:extLst>
              <a:ext uri="{FF2B5EF4-FFF2-40B4-BE49-F238E27FC236}">
                <a16:creationId xmlns:a16="http://schemas.microsoft.com/office/drawing/2014/main" id="{CBA06B23-00BE-3683-3317-9F1573D4176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39775" y="0"/>
            <a:ext cx="3352225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2" name="Plassholder for bilde 1">
            <a:extLst>
              <a:ext uri="{FF2B5EF4-FFF2-40B4-BE49-F238E27FC236}">
                <a16:creationId xmlns:a16="http://schemas.microsoft.com/office/drawing/2014/main" id="{9156F60F-F238-F48C-1E34-C476B9C355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80407" y="3448050"/>
            <a:ext cx="3352225" cy="3409950"/>
          </a:xfrm>
          <a:prstGeom prst="rect">
            <a:avLst/>
          </a:prstGeom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1634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med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2CE11380-6D94-BBB1-1C5C-627DE7048F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7906" y="0"/>
            <a:ext cx="5004094" cy="5537200"/>
          </a:xfrm>
          <a:custGeom>
            <a:avLst/>
            <a:gdLst>
              <a:gd name="connsiteX0" fmla="*/ 3057220 w 10007536"/>
              <a:gd name="connsiteY0" fmla="*/ 0 h 11074400"/>
              <a:gd name="connsiteX1" fmla="*/ 10007536 w 10007536"/>
              <a:gd name="connsiteY1" fmla="*/ 0 h 11074400"/>
              <a:gd name="connsiteX2" fmla="*/ 10007536 w 10007536"/>
              <a:gd name="connsiteY2" fmla="*/ 11074400 h 11074400"/>
              <a:gd name="connsiteX3" fmla="*/ 0 w 10007536"/>
              <a:gd name="connsiteY3" fmla="*/ 11074400 h 110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7536" h="11074400">
                <a:moveTo>
                  <a:pt x="3057220" y="0"/>
                </a:moveTo>
                <a:lnTo>
                  <a:pt x="10007536" y="0"/>
                </a:lnTo>
                <a:lnTo>
                  <a:pt x="10007536" y="11074400"/>
                </a:lnTo>
                <a:lnTo>
                  <a:pt x="0" y="11074400"/>
                </a:lnTo>
                <a:close/>
              </a:path>
            </a:pathLst>
          </a:custGeom>
        </p:spPr>
        <p:txBody>
          <a:bodyPr wrap="square" tIns="1462174">
            <a:no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Frihåndsform: figur 13">
            <a:extLst>
              <a:ext uri="{FF2B5EF4-FFF2-40B4-BE49-F238E27FC236}">
                <a16:creationId xmlns:a16="http://schemas.microsoft.com/office/drawing/2014/main" id="{4F3113FC-D55B-C785-66A9-D057D6E2F494}"/>
              </a:ext>
            </a:extLst>
          </p:cNvPr>
          <p:cNvSpPr/>
          <p:nvPr/>
        </p:nvSpPr>
        <p:spPr>
          <a:xfrm>
            <a:off x="0" y="5537200"/>
            <a:ext cx="7188668" cy="1320800"/>
          </a:xfrm>
          <a:custGeom>
            <a:avLst/>
            <a:gdLst>
              <a:gd name="connsiteX0" fmla="*/ 0 w 14376400"/>
              <a:gd name="connsiteY0" fmla="*/ 0 h 2641600"/>
              <a:gd name="connsiteX1" fmla="*/ 14376400 w 14376400"/>
              <a:gd name="connsiteY1" fmla="*/ 0 h 2641600"/>
              <a:gd name="connsiteX2" fmla="*/ 13675768 w 14376400"/>
              <a:gd name="connsiteY2" fmla="*/ 2641600 h 2641600"/>
              <a:gd name="connsiteX3" fmla="*/ 0 w 14376400"/>
              <a:gd name="connsiteY3" fmla="*/ 2641600 h 264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76400" h="2641600">
                <a:moveTo>
                  <a:pt x="0" y="0"/>
                </a:moveTo>
                <a:lnTo>
                  <a:pt x="14376400" y="0"/>
                </a:lnTo>
                <a:lnTo>
                  <a:pt x="13675768" y="2641600"/>
                </a:lnTo>
                <a:lnTo>
                  <a:pt x="0" y="2641600"/>
                </a:lnTo>
                <a:close/>
              </a:path>
            </a:pathLst>
          </a:custGeom>
          <a:solidFill>
            <a:srgbClr val="F6FF7D"/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74763"/>
          </a:xfrm>
        </p:spPr>
        <p:txBody>
          <a:bodyPr lIns="0" tIns="0" rIns="0" bIns="0" anchor="t"/>
          <a:lstStyle>
            <a:lvl1pPr algn="l"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28453" y="6004306"/>
            <a:ext cx="3694734" cy="370933"/>
          </a:xfrm>
          <a:prstGeom prst="rect">
            <a:avLst/>
          </a:prstGeom>
        </p:spPr>
      </p:pic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EB09DC05-FE3F-4947-7FBF-EB1E98B4AA36}"/>
              </a:ext>
            </a:extLst>
          </p:cNvPr>
          <p:cNvSpPr/>
          <p:nvPr/>
        </p:nvSpPr>
        <p:spPr>
          <a:xfrm>
            <a:off x="7554830" y="527797"/>
            <a:ext cx="4038111" cy="4662488"/>
          </a:xfrm>
          <a:custGeom>
            <a:avLst/>
            <a:gdLst>
              <a:gd name="connsiteX0" fmla="*/ 8075697 w 8075696"/>
              <a:gd name="connsiteY0" fmla="*/ 0 h 9324975"/>
              <a:gd name="connsiteX1" fmla="*/ 2574276 w 8075696"/>
              <a:gd name="connsiteY1" fmla="*/ 0 h 9324975"/>
              <a:gd name="connsiteX2" fmla="*/ 0 w 8075696"/>
              <a:gd name="connsiteY2" fmla="*/ 9324975 h 9324975"/>
              <a:gd name="connsiteX3" fmla="*/ 8075697 w 8075696"/>
              <a:gd name="connsiteY3" fmla="*/ 9324975 h 9324975"/>
              <a:gd name="connsiteX4" fmla="*/ 8075697 w 8075696"/>
              <a:gd name="connsiteY4" fmla="*/ 0 h 932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5696" h="9324975">
                <a:moveTo>
                  <a:pt x="8075697" y="0"/>
                </a:moveTo>
                <a:lnTo>
                  <a:pt x="2574276" y="0"/>
                </a:lnTo>
                <a:lnTo>
                  <a:pt x="0" y="9324975"/>
                </a:lnTo>
                <a:lnTo>
                  <a:pt x="8075697" y="9324975"/>
                </a:lnTo>
                <a:lnTo>
                  <a:pt x="8075697" y="0"/>
                </a:lnTo>
                <a:close/>
              </a:path>
            </a:pathLst>
          </a:custGeom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  <p:sp>
        <p:nvSpPr>
          <p:cNvPr id="19" name="Frihåndsform: figur 18">
            <a:extLst>
              <a:ext uri="{FF2B5EF4-FFF2-40B4-BE49-F238E27FC236}">
                <a16:creationId xmlns:a16="http://schemas.microsoft.com/office/drawing/2014/main" id="{4EB1DD82-6345-EFFD-F845-0FFD5D524B12}"/>
              </a:ext>
            </a:extLst>
          </p:cNvPr>
          <p:cNvSpPr/>
          <p:nvPr/>
        </p:nvSpPr>
        <p:spPr>
          <a:xfrm>
            <a:off x="7554830" y="527797"/>
            <a:ext cx="4038111" cy="4662488"/>
          </a:xfrm>
          <a:custGeom>
            <a:avLst/>
            <a:gdLst>
              <a:gd name="connsiteX0" fmla="*/ 8075697 w 8075696"/>
              <a:gd name="connsiteY0" fmla="*/ 0 h 9324975"/>
              <a:gd name="connsiteX1" fmla="*/ 2574276 w 8075696"/>
              <a:gd name="connsiteY1" fmla="*/ 0 h 9324975"/>
              <a:gd name="connsiteX2" fmla="*/ 0 w 8075696"/>
              <a:gd name="connsiteY2" fmla="*/ 9324975 h 9324975"/>
              <a:gd name="connsiteX3" fmla="*/ 8075697 w 8075696"/>
              <a:gd name="connsiteY3" fmla="*/ 9324975 h 9324975"/>
              <a:gd name="connsiteX4" fmla="*/ 8075697 w 8075696"/>
              <a:gd name="connsiteY4" fmla="*/ 0 h 932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5696" h="9324975">
                <a:moveTo>
                  <a:pt x="8075697" y="0"/>
                </a:moveTo>
                <a:lnTo>
                  <a:pt x="2574276" y="0"/>
                </a:lnTo>
                <a:lnTo>
                  <a:pt x="0" y="9324975"/>
                </a:lnTo>
                <a:lnTo>
                  <a:pt x="8075697" y="9324975"/>
                </a:lnTo>
                <a:lnTo>
                  <a:pt x="8075697" y="0"/>
                </a:lnTo>
                <a:close/>
              </a:path>
            </a:pathLst>
          </a:custGeom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1969343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BB9314E-30CE-32B6-DDE9-2AB87D591E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4184650"/>
          </a:xfrm>
          <a:prstGeom prst="rect">
            <a:avLst/>
          </a:prstGeom>
          <a:noFill/>
        </p:spPr>
        <p:txBody>
          <a:bodyPr tIns="1462174"/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C93C86A-D0C7-CAC6-69AF-DF820F629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1" y="4730712"/>
            <a:ext cx="10154311" cy="12248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490963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9249" y="1306399"/>
            <a:ext cx="4540546" cy="1248002"/>
          </a:xfrm>
        </p:spPr>
        <p:txBody>
          <a:bodyPr lIns="0" tIns="0" rIns="0" bIns="0">
            <a:spAutoFit/>
          </a:bodyPr>
          <a:lstStyle>
            <a:lvl1pPr>
              <a:lnSpc>
                <a:spcPts val="5000"/>
              </a:lnSpc>
              <a:defRPr sz="4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B7C29235-DDB1-B377-EFA0-CA255A5F35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909249" y="2470150"/>
            <a:ext cx="4540546" cy="321944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iagram 7">
            <a:extLst>
              <a:ext uri="{FF2B5EF4-FFF2-40B4-BE49-F238E27FC236}">
                <a16:creationId xmlns:a16="http://schemas.microsoft.com/office/drawing/2014/main" id="{7F621411-D3D8-B014-E4A6-900F19C0F0E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82632" y="1073150"/>
            <a:ext cx="5181937" cy="4616449"/>
          </a:xfrm>
          <a:prstGeom prst="rect">
            <a:avLst/>
          </a:prstGeom>
        </p:spPr>
        <p:txBody>
          <a:bodyPr lIns="0" tIns="0" rIns="0" bIns="0" anchor="t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48174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diagram 7">
            <a:extLst>
              <a:ext uri="{FF2B5EF4-FFF2-40B4-BE49-F238E27FC236}">
                <a16:creationId xmlns:a16="http://schemas.microsoft.com/office/drawing/2014/main" id="{7F621411-D3D8-B014-E4A6-900F19C0F0E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82632" y="1943100"/>
            <a:ext cx="5041435" cy="3746498"/>
          </a:xfrm>
          <a:prstGeom prst="rect">
            <a:avLst/>
          </a:prstGeom>
        </p:spPr>
        <p:txBody>
          <a:bodyPr lIns="0" tIns="0" rIns="0" bIns="0" anchor="t"/>
          <a:lstStyle/>
          <a:p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F149B8E9-2898-EF9F-154C-ED341D6E0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6"/>
            <a:ext cx="10154311" cy="60680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iagram 7">
            <a:extLst>
              <a:ext uri="{FF2B5EF4-FFF2-40B4-BE49-F238E27FC236}">
                <a16:creationId xmlns:a16="http://schemas.microsoft.com/office/drawing/2014/main" id="{2979D8BA-CA32-1B09-1666-DAC9F1BDCC40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667935" y="1943100"/>
            <a:ext cx="5041434" cy="3746498"/>
          </a:xfrm>
          <a:prstGeom prst="rect">
            <a:avLst/>
          </a:prstGeom>
        </p:spPr>
        <p:txBody>
          <a:bodyPr lIns="0" tIns="0" rIns="0" bIns="0" anchor="t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0696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FA7CB-EFCB-68F6-AA11-39B4B82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7CA51B9-0DF8-7C24-3EED-D2A358978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5077663-8F12-CFEC-FFFB-6A0E88B9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17E9234-13BF-B620-2555-37EC75C71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38937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62042F1-9661-F848-BF01-18667A75E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D2699B3-DF51-8E8E-B206-882B0FB2D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E53AE5F-747B-47AD-C69A-309211867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40083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4007" y="6064250"/>
            <a:ext cx="3162506" cy="317500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B91F284-751C-08BD-3E40-DECC3DA450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4848700"/>
            <a:ext cx="4584076" cy="12248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0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19C90423-7D79-E7AA-449C-A8CD02E0F495}"/>
              </a:ext>
            </a:extLst>
          </p:cNvPr>
          <p:cNvSpPr txBox="1"/>
          <p:nvPr userDrawn="1"/>
        </p:nvSpPr>
        <p:spPr>
          <a:xfrm>
            <a:off x="482631" y="6252237"/>
            <a:ext cx="3839350" cy="149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nb-NO" sz="1000">
                <a:solidFill>
                  <a:schemeClr val="lt1"/>
                </a:solidFill>
              </a:rPr>
              <a:t>connectbus.no</a:t>
            </a:r>
          </a:p>
        </p:txBody>
      </p:sp>
    </p:spTree>
    <p:extLst>
      <p:ext uri="{BB962C8B-B14F-4D97-AF65-F5344CB8AC3E}">
        <p14:creationId xmlns:p14="http://schemas.microsoft.com/office/powerpoint/2010/main" val="30152331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2631" y="476250"/>
            <a:ext cx="3162506" cy="317500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B91F284-751C-08BD-3E40-DECC3DA450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4848700"/>
            <a:ext cx="4584076" cy="12248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000" b="0" i="0" u="none" cap="none">
                <a:solidFill>
                  <a:schemeClr val="lt1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19C90423-7D79-E7AA-449C-A8CD02E0F495}"/>
              </a:ext>
            </a:extLst>
          </p:cNvPr>
          <p:cNvSpPr txBox="1"/>
          <p:nvPr userDrawn="1"/>
        </p:nvSpPr>
        <p:spPr>
          <a:xfrm>
            <a:off x="482631" y="6252237"/>
            <a:ext cx="3839350" cy="149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nb-NO" sz="1000">
                <a:solidFill>
                  <a:schemeClr val="lt1"/>
                </a:solidFill>
              </a:rPr>
              <a:t>connectbus.no</a:t>
            </a:r>
          </a:p>
        </p:txBody>
      </p:sp>
      <p:sp>
        <p:nvSpPr>
          <p:cNvPr id="16" name="Frihåndsform: figur 15">
            <a:extLst>
              <a:ext uri="{FF2B5EF4-FFF2-40B4-BE49-F238E27FC236}">
                <a16:creationId xmlns:a16="http://schemas.microsoft.com/office/drawing/2014/main" id="{94807AE5-A661-A076-67DF-B2498216DF14}"/>
              </a:ext>
            </a:extLst>
          </p:cNvPr>
          <p:cNvSpPr/>
          <p:nvPr/>
        </p:nvSpPr>
        <p:spPr>
          <a:xfrm>
            <a:off x="6909250" y="2481506"/>
            <a:ext cx="5282750" cy="4376495"/>
          </a:xfrm>
          <a:custGeom>
            <a:avLst/>
            <a:gdLst>
              <a:gd name="connsiteX0" fmla="*/ 7494918 w 10564812"/>
              <a:gd name="connsiteY0" fmla="*/ 3248123 h 8752989"/>
              <a:gd name="connsiteX1" fmla="*/ 5982056 w 10564812"/>
              <a:gd name="connsiteY1" fmla="*/ 8752989 h 8752989"/>
              <a:gd name="connsiteX2" fmla="*/ 0 w 10564812"/>
              <a:gd name="connsiteY2" fmla="*/ 8752989 h 8752989"/>
              <a:gd name="connsiteX3" fmla="*/ 1033671 w 10564812"/>
              <a:gd name="connsiteY3" fmla="*/ 6646491 h 8752989"/>
              <a:gd name="connsiteX4" fmla="*/ 2821356 w 10564812"/>
              <a:gd name="connsiteY4" fmla="*/ 4860122 h 8752989"/>
              <a:gd name="connsiteX5" fmla="*/ 5089830 w 10564812"/>
              <a:gd name="connsiteY5" fmla="*/ 3667046 h 8752989"/>
              <a:gd name="connsiteX6" fmla="*/ 7494918 w 10564812"/>
              <a:gd name="connsiteY6" fmla="*/ 3248123 h 8752989"/>
              <a:gd name="connsiteX7" fmla="*/ 10564812 w 10564812"/>
              <a:gd name="connsiteY7" fmla="*/ 0 h 8752989"/>
              <a:gd name="connsiteX8" fmla="*/ 10564812 w 10564812"/>
              <a:gd name="connsiteY8" fmla="*/ 3248123 h 8752989"/>
              <a:gd name="connsiteX9" fmla="*/ 7494918 w 10564812"/>
              <a:gd name="connsiteY9" fmla="*/ 3248123 h 8752989"/>
              <a:gd name="connsiteX10" fmla="*/ 8173644 w 10564812"/>
              <a:gd name="connsiteY10" fmla="*/ 1855848 h 8752989"/>
              <a:gd name="connsiteX11" fmla="*/ 9355748 w 10564812"/>
              <a:gd name="connsiteY11" fmla="*/ 675195 h 8752989"/>
              <a:gd name="connsiteX12" fmla="*/ 10459788 w 10564812"/>
              <a:gd name="connsiteY12" fmla="*/ 40913 h 875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564812" h="8752989">
                <a:moveTo>
                  <a:pt x="7494918" y="3248123"/>
                </a:moveTo>
                <a:lnTo>
                  <a:pt x="5982056" y="8752989"/>
                </a:lnTo>
                <a:lnTo>
                  <a:pt x="0" y="8752989"/>
                </a:lnTo>
                <a:cubicBezTo>
                  <a:pt x="215661" y="7994495"/>
                  <a:pt x="565776" y="7280817"/>
                  <a:pt x="1033671" y="6646491"/>
                </a:cubicBezTo>
                <a:cubicBezTo>
                  <a:pt x="1534376" y="5961961"/>
                  <a:pt x="2137258" y="5359486"/>
                  <a:pt x="2821356" y="4860122"/>
                </a:cubicBezTo>
                <a:cubicBezTo>
                  <a:pt x="3514052" y="4351043"/>
                  <a:pt x="4278276" y="3948858"/>
                  <a:pt x="5089830" y="3667046"/>
                </a:cubicBezTo>
                <a:cubicBezTo>
                  <a:pt x="5863210" y="3395507"/>
                  <a:pt x="6675832" y="3254067"/>
                  <a:pt x="7494918" y="3248123"/>
                </a:cubicBezTo>
                <a:close/>
                <a:moveTo>
                  <a:pt x="10564812" y="0"/>
                </a:moveTo>
                <a:lnTo>
                  <a:pt x="10564812" y="3248123"/>
                </a:lnTo>
                <a:lnTo>
                  <a:pt x="7494918" y="3248123"/>
                </a:lnTo>
                <a:cubicBezTo>
                  <a:pt x="7635824" y="2747146"/>
                  <a:pt x="7866012" y="2275316"/>
                  <a:pt x="8173644" y="1855848"/>
                </a:cubicBezTo>
                <a:cubicBezTo>
                  <a:pt x="8504924" y="1403448"/>
                  <a:pt x="8903450" y="1005050"/>
                  <a:pt x="9355748" y="675195"/>
                </a:cubicBezTo>
                <a:cubicBezTo>
                  <a:pt x="9699410" y="422545"/>
                  <a:pt x="10069690" y="209979"/>
                  <a:pt x="10459788" y="40913"/>
                </a:cubicBezTo>
                <a:close/>
              </a:path>
            </a:pathLst>
          </a:custGeom>
          <a:solidFill>
            <a:schemeClr val="accent5"/>
          </a:solidFill>
          <a:ln w="14952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415472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F40BC16-B714-2D13-7041-51F03777A3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8247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4" imgH="328" progId="TCLayout.ActiveDocument.1">
                  <p:embed/>
                </p:oleObj>
              </mc:Choice>
              <mc:Fallback>
                <p:oleObj name="think-cell Slide" r:id="rId3" imgW="334" imgH="32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40BC16-B714-2D13-7041-51F03777A3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C02AF2-D1B6-16D4-9877-4A9D51A327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902" y="348343"/>
            <a:ext cx="7713306" cy="1853681"/>
          </a:xfrm>
        </p:spPr>
        <p:txBody>
          <a:bodyPr vert="horz" anchor="b"/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CE5C1C-F8D7-342E-4641-71E811B7F9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02" y="2438821"/>
            <a:ext cx="7713306" cy="1655762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  <a:p>
            <a:r>
              <a:rPr lang="en-US"/>
              <a:t>Date</a:t>
            </a:r>
          </a:p>
        </p:txBody>
      </p:sp>
      <p:sp>
        <p:nvSpPr>
          <p:cNvPr id="4" name="Plassholder for bilde 25">
            <a:extLst>
              <a:ext uri="{FF2B5EF4-FFF2-40B4-BE49-F238E27FC236}">
                <a16:creationId xmlns:a16="http://schemas.microsoft.com/office/drawing/2014/main" id="{ADEB50E3-C73C-1407-A36E-8477C4768E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7906" y="0"/>
            <a:ext cx="5004094" cy="5537200"/>
          </a:xfrm>
          <a:custGeom>
            <a:avLst/>
            <a:gdLst>
              <a:gd name="connsiteX0" fmla="*/ 3057220 w 10007536"/>
              <a:gd name="connsiteY0" fmla="*/ 0 h 11074400"/>
              <a:gd name="connsiteX1" fmla="*/ 10007536 w 10007536"/>
              <a:gd name="connsiteY1" fmla="*/ 0 h 11074400"/>
              <a:gd name="connsiteX2" fmla="*/ 10007536 w 10007536"/>
              <a:gd name="connsiteY2" fmla="*/ 11074400 h 11074400"/>
              <a:gd name="connsiteX3" fmla="*/ 0 w 10007536"/>
              <a:gd name="connsiteY3" fmla="*/ 11074400 h 110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7536" h="11074400">
                <a:moveTo>
                  <a:pt x="3057220" y="0"/>
                </a:moveTo>
                <a:lnTo>
                  <a:pt x="10007536" y="0"/>
                </a:lnTo>
                <a:lnTo>
                  <a:pt x="10007536" y="11074400"/>
                </a:lnTo>
                <a:lnTo>
                  <a:pt x="0" y="11074400"/>
                </a:lnTo>
                <a:close/>
              </a:path>
            </a:pathLst>
          </a:custGeom>
        </p:spPr>
        <p:txBody>
          <a:bodyPr wrap="square" tIns="1462174">
            <a:no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5" name="Frihåndsform: figur 13">
            <a:extLst>
              <a:ext uri="{FF2B5EF4-FFF2-40B4-BE49-F238E27FC236}">
                <a16:creationId xmlns:a16="http://schemas.microsoft.com/office/drawing/2014/main" id="{82037DB5-D93C-E2B1-D1EC-7D3E9B7327FA}"/>
              </a:ext>
            </a:extLst>
          </p:cNvPr>
          <p:cNvSpPr/>
          <p:nvPr userDrawn="1"/>
        </p:nvSpPr>
        <p:spPr>
          <a:xfrm>
            <a:off x="0" y="5537200"/>
            <a:ext cx="7188668" cy="1320800"/>
          </a:xfrm>
          <a:custGeom>
            <a:avLst/>
            <a:gdLst>
              <a:gd name="connsiteX0" fmla="*/ 0 w 14376400"/>
              <a:gd name="connsiteY0" fmla="*/ 0 h 2641600"/>
              <a:gd name="connsiteX1" fmla="*/ 14376400 w 14376400"/>
              <a:gd name="connsiteY1" fmla="*/ 0 h 2641600"/>
              <a:gd name="connsiteX2" fmla="*/ 13675768 w 14376400"/>
              <a:gd name="connsiteY2" fmla="*/ 2641600 h 2641600"/>
              <a:gd name="connsiteX3" fmla="*/ 0 w 14376400"/>
              <a:gd name="connsiteY3" fmla="*/ 2641600 h 264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76400" h="2641600">
                <a:moveTo>
                  <a:pt x="0" y="0"/>
                </a:moveTo>
                <a:lnTo>
                  <a:pt x="14376400" y="0"/>
                </a:lnTo>
                <a:lnTo>
                  <a:pt x="13675768" y="2641600"/>
                </a:lnTo>
                <a:lnTo>
                  <a:pt x="0" y="2641600"/>
                </a:lnTo>
                <a:close/>
              </a:path>
            </a:pathLst>
          </a:custGeom>
          <a:solidFill>
            <a:srgbClr val="F6FF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sz="900"/>
          </a:p>
        </p:txBody>
      </p:sp>
      <p:pic>
        <p:nvPicPr>
          <p:cNvPr id="7" name="Grafikk 7">
            <a:extLst>
              <a:ext uri="{FF2B5EF4-FFF2-40B4-BE49-F238E27FC236}">
                <a16:creationId xmlns:a16="http://schemas.microsoft.com/office/drawing/2014/main" id="{3C07166D-DFBE-C992-63FA-CAC4F564E3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28453" y="6004306"/>
            <a:ext cx="3694734" cy="37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8792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903AF5-8C71-0867-4C0A-93A4E9838C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1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4" imgH="328" progId="TCLayout.ActiveDocument.1">
                  <p:embed/>
                </p:oleObj>
              </mc:Choice>
              <mc:Fallback>
                <p:oleObj name="think-cell Slide" r:id="rId3" imgW="334" imgH="32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903AF5-8C71-0867-4C0A-93A4E9838C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0C79AB-172D-3862-E6F2-C1D779293F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918361-F6CA-CA70-10B3-029CB6AC0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F55885-5783-BDBA-77F9-102FBFF997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F1B55F9B-D0C8-4D9F-8D86-BFD0D0FECA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07C6837-1CBB-0F77-F429-70653DBF5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36409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6D517F4-5BDB-361D-CDC8-8CB36F6880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974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4" imgH="328" progId="TCLayout.ActiveDocument.1">
                  <p:embed/>
                </p:oleObj>
              </mc:Choice>
              <mc:Fallback>
                <p:oleObj name="think-cell Slide" r:id="rId3" imgW="334" imgH="32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D517F4-5BDB-361D-CDC8-8CB36F688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4FEF31-C04B-B668-F94D-957A05D5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67AC3E-89B3-4365-72ED-39D81B0B72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00539"/>
            <a:ext cx="5181600" cy="49764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DDFFB5-D9C7-A3EB-A87D-80F0C6B9B3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00539"/>
            <a:ext cx="5181600" cy="49764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3DD1FE-FC8B-E3AA-1227-DEAEADB6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030FB57-BF7F-4FE0-B596-D7D96D03DC2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5596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73D054-542E-9DA5-534F-C171C30F1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25543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9A36D2-7AB3-F073-D4ED-D8C1649878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481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4" imgH="328" progId="TCLayout.ActiveDocument.1">
                  <p:embed/>
                </p:oleObj>
              </mc:Choice>
              <mc:Fallback>
                <p:oleObj name="think-cell Slide" r:id="rId3" imgW="334" imgH="32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9A36D2-7AB3-F073-D4ED-D8C164987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A7B59DC-516B-E98C-9733-D383EBF65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AFC206-0682-3C58-61AB-0B78D9A26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9CEECA-D8A1-0BFF-5F8B-E5F8D4C657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0FBB9-FAD8-99C4-E390-5C60A63909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F1B55F9B-D0C8-4D9F-8D86-BFD0D0FECA5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6108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2C1758E-4D28-067E-AEBB-18DC024E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B539CEE-099B-7339-9C9C-A245093DF7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38D1636-6C60-B8CC-92E4-048EC09ED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6D828-E0EE-4697-B0EA-D2EB002030BF}" type="datetimeFigureOut">
              <a:rPr lang="sv-SE" smtClean="0"/>
              <a:t>2026-02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8244AE9-C645-AB48-5F03-70A3A1F95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13481F6-6577-7DE2-7C21-3C5980F04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BFDF1-FF34-4B5F-BC88-934F6930990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94232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e 18">
            <a:extLst>
              <a:ext uri="{FF2B5EF4-FFF2-40B4-BE49-F238E27FC236}">
                <a16:creationId xmlns:a16="http://schemas.microsoft.com/office/drawing/2014/main" id="{7C815E34-AAB9-9CDF-3D68-6E991357698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12004" y="2711450"/>
            <a:ext cx="7967991" cy="800261"/>
            <a:chOff x="7452443" y="3248590"/>
            <a:chExt cx="10115578" cy="1016019"/>
          </a:xfrm>
          <a:solidFill>
            <a:schemeClr val="lt1"/>
          </a:solidFill>
        </p:grpSpPr>
        <p:sp>
          <p:nvSpPr>
            <p:cNvPr id="7" name="Frihåndsform: figur 6">
              <a:extLst>
                <a:ext uri="{FF2B5EF4-FFF2-40B4-BE49-F238E27FC236}">
                  <a16:creationId xmlns:a16="http://schemas.microsoft.com/office/drawing/2014/main" id="{21F862BE-967D-555A-DDB5-4BC69A2E88CD}"/>
                </a:ext>
              </a:extLst>
            </p:cNvPr>
            <p:cNvSpPr/>
            <p:nvPr/>
          </p:nvSpPr>
          <p:spPr>
            <a:xfrm>
              <a:off x="7452443" y="3248590"/>
              <a:ext cx="1371148" cy="1003564"/>
            </a:xfrm>
            <a:custGeom>
              <a:avLst/>
              <a:gdLst>
                <a:gd name="connsiteX0" fmla="*/ 1196007 w 1371148"/>
                <a:gd name="connsiteY0" fmla="*/ 30454 h 1003564"/>
                <a:gd name="connsiteX1" fmla="*/ 1030699 w 1371148"/>
                <a:gd name="connsiteY1" fmla="*/ 117018 h 1003564"/>
                <a:gd name="connsiteX2" fmla="*/ 900473 w 1371148"/>
                <a:gd name="connsiteY2" fmla="*/ 246596 h 1003564"/>
                <a:gd name="connsiteX3" fmla="*/ 825699 w 1371148"/>
                <a:gd name="connsiteY3" fmla="*/ 399400 h 1003564"/>
                <a:gd name="connsiteX4" fmla="*/ 560734 w 1371148"/>
                <a:gd name="connsiteY4" fmla="*/ 445378 h 1003564"/>
                <a:gd name="connsiteX5" fmla="*/ 310822 w 1371148"/>
                <a:gd name="connsiteY5" fmla="*/ 576320 h 1003564"/>
                <a:gd name="connsiteX6" fmla="*/ 113877 w 1371148"/>
                <a:gd name="connsiteY6" fmla="*/ 772375 h 1003564"/>
                <a:gd name="connsiteX7" fmla="*/ 0 w 1371148"/>
                <a:gd name="connsiteY7" fmla="*/ 1003564 h 1003564"/>
                <a:gd name="connsiteX8" fmla="*/ 659030 w 1371148"/>
                <a:gd name="connsiteY8" fmla="*/ 1003564 h 1003564"/>
                <a:gd name="connsiteX9" fmla="*/ 825699 w 1371148"/>
                <a:gd name="connsiteY9" fmla="*/ 399400 h 1003564"/>
                <a:gd name="connsiteX10" fmla="*/ 1261478 w 1371148"/>
                <a:gd name="connsiteY10" fmla="*/ 399400 h 1003564"/>
                <a:gd name="connsiteX11" fmla="*/ 1371149 w 1371148"/>
                <a:gd name="connsiteY11" fmla="*/ 0 h 1003564"/>
                <a:gd name="connsiteX12" fmla="*/ 1195950 w 1371148"/>
                <a:gd name="connsiteY12" fmla="*/ 30454 h 1003564"/>
                <a:gd name="connsiteX13" fmla="*/ 1196007 w 1371148"/>
                <a:gd name="connsiteY13" fmla="*/ 30454 h 10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1148" h="1003564">
                  <a:moveTo>
                    <a:pt x="1196007" y="30454"/>
                  </a:moveTo>
                  <a:cubicBezTo>
                    <a:pt x="1136876" y="50895"/>
                    <a:pt x="1081182" y="80046"/>
                    <a:pt x="1030699" y="117018"/>
                  </a:cubicBezTo>
                  <a:cubicBezTo>
                    <a:pt x="980871" y="153219"/>
                    <a:pt x="936967" y="196945"/>
                    <a:pt x="900473" y="246596"/>
                  </a:cubicBezTo>
                  <a:cubicBezTo>
                    <a:pt x="866579" y="292632"/>
                    <a:pt x="841224" y="344416"/>
                    <a:pt x="825699" y="399400"/>
                  </a:cubicBezTo>
                  <a:cubicBezTo>
                    <a:pt x="735462" y="400052"/>
                    <a:pt x="645936" y="415577"/>
                    <a:pt x="560734" y="445378"/>
                  </a:cubicBezTo>
                  <a:cubicBezTo>
                    <a:pt x="471326" y="476305"/>
                    <a:pt x="387135" y="520448"/>
                    <a:pt x="310822" y="576320"/>
                  </a:cubicBezTo>
                  <a:cubicBezTo>
                    <a:pt x="235457" y="631123"/>
                    <a:pt x="169038" y="697244"/>
                    <a:pt x="113877" y="772375"/>
                  </a:cubicBezTo>
                  <a:cubicBezTo>
                    <a:pt x="62330" y="841992"/>
                    <a:pt x="23759" y="920321"/>
                    <a:pt x="0" y="1003564"/>
                  </a:cubicBezTo>
                  <a:lnTo>
                    <a:pt x="659030" y="1003564"/>
                  </a:lnTo>
                  <a:lnTo>
                    <a:pt x="825699" y="399400"/>
                  </a:lnTo>
                  <a:lnTo>
                    <a:pt x="1261478" y="399400"/>
                  </a:lnTo>
                  <a:lnTo>
                    <a:pt x="1371149" y="0"/>
                  </a:lnTo>
                  <a:cubicBezTo>
                    <a:pt x="1311485" y="474"/>
                    <a:pt x="1252293" y="10724"/>
                    <a:pt x="1195950" y="30454"/>
                  </a:cubicBezTo>
                  <a:lnTo>
                    <a:pt x="1196007" y="30454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9" name="Frihåndsform: figur 8">
              <a:extLst>
                <a:ext uri="{FF2B5EF4-FFF2-40B4-BE49-F238E27FC236}">
                  <a16:creationId xmlns:a16="http://schemas.microsoft.com/office/drawing/2014/main" id="{B95C4808-90D7-D885-8B73-47DBB99CC05F}"/>
                </a:ext>
              </a:extLst>
            </p:cNvPr>
            <p:cNvSpPr/>
            <p:nvPr/>
          </p:nvSpPr>
          <p:spPr>
            <a:xfrm>
              <a:off x="9095229" y="3464092"/>
              <a:ext cx="758862" cy="800517"/>
            </a:xfrm>
            <a:custGeom>
              <a:avLst/>
              <a:gdLst>
                <a:gd name="connsiteX0" fmla="*/ 0 w 758862"/>
                <a:gd name="connsiteY0" fmla="*/ 400230 h 800517"/>
                <a:gd name="connsiteX1" fmla="*/ 394066 w 758862"/>
                <a:gd name="connsiteY1" fmla="*/ 0 h 800517"/>
                <a:gd name="connsiteX2" fmla="*/ 758862 w 758862"/>
                <a:gd name="connsiteY2" fmla="*/ 267808 h 800517"/>
                <a:gd name="connsiteX3" fmla="*/ 569561 w 758862"/>
                <a:gd name="connsiteY3" fmla="*/ 304778 h 800517"/>
                <a:gd name="connsiteX4" fmla="*/ 400227 w 758862"/>
                <a:gd name="connsiteY4" fmla="*/ 167794 h 800517"/>
                <a:gd name="connsiteX5" fmla="*/ 201684 w 758862"/>
                <a:gd name="connsiteY5" fmla="*/ 400230 h 800517"/>
                <a:gd name="connsiteX6" fmla="*/ 400227 w 758862"/>
                <a:gd name="connsiteY6" fmla="*/ 632666 h 800517"/>
                <a:gd name="connsiteX7" fmla="*/ 569561 w 758862"/>
                <a:gd name="connsiteY7" fmla="*/ 500302 h 800517"/>
                <a:gd name="connsiteX8" fmla="*/ 758862 w 758862"/>
                <a:gd name="connsiteY8" fmla="*/ 538812 h 800517"/>
                <a:gd name="connsiteX9" fmla="*/ 394066 w 758862"/>
                <a:gd name="connsiteY9" fmla="*/ 800517 h 800517"/>
                <a:gd name="connsiteX10" fmla="*/ 0 w 758862"/>
                <a:gd name="connsiteY10" fmla="*/ 400291 h 800517"/>
                <a:gd name="connsiteX11" fmla="*/ 0 w 758862"/>
                <a:gd name="connsiteY11" fmla="*/ 400230 h 80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862" h="800517">
                  <a:moveTo>
                    <a:pt x="0" y="400230"/>
                  </a:moveTo>
                  <a:cubicBezTo>
                    <a:pt x="0" y="163173"/>
                    <a:pt x="161629" y="0"/>
                    <a:pt x="394066" y="0"/>
                  </a:cubicBezTo>
                  <a:cubicBezTo>
                    <a:pt x="592608" y="0"/>
                    <a:pt x="732735" y="103153"/>
                    <a:pt x="758862" y="267808"/>
                  </a:cubicBezTo>
                  <a:lnTo>
                    <a:pt x="569561" y="304778"/>
                  </a:lnTo>
                  <a:cubicBezTo>
                    <a:pt x="555699" y="223194"/>
                    <a:pt x="491057" y="167794"/>
                    <a:pt x="400227" y="167794"/>
                  </a:cubicBezTo>
                  <a:cubicBezTo>
                    <a:pt x="280188" y="167794"/>
                    <a:pt x="201684" y="258624"/>
                    <a:pt x="201684" y="400230"/>
                  </a:cubicBezTo>
                  <a:cubicBezTo>
                    <a:pt x="201684" y="541836"/>
                    <a:pt x="280188" y="632666"/>
                    <a:pt x="400227" y="632666"/>
                  </a:cubicBezTo>
                  <a:cubicBezTo>
                    <a:pt x="491057" y="632666"/>
                    <a:pt x="551074" y="583427"/>
                    <a:pt x="569561" y="500302"/>
                  </a:cubicBezTo>
                  <a:lnTo>
                    <a:pt x="758862" y="538812"/>
                  </a:lnTo>
                  <a:cubicBezTo>
                    <a:pt x="729594" y="701986"/>
                    <a:pt x="589528" y="800517"/>
                    <a:pt x="394066" y="800517"/>
                  </a:cubicBezTo>
                  <a:cubicBezTo>
                    <a:pt x="161629" y="800517"/>
                    <a:pt x="0" y="637344"/>
                    <a:pt x="0" y="400291"/>
                  </a:cubicBezTo>
                  <a:lnTo>
                    <a:pt x="0" y="400230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0" name="Frihåndsform: figur 9">
              <a:extLst>
                <a:ext uri="{FF2B5EF4-FFF2-40B4-BE49-F238E27FC236}">
                  <a16:creationId xmlns:a16="http://schemas.microsoft.com/office/drawing/2014/main" id="{6772C737-6C55-B52B-8EDE-8BB72720EB6E}"/>
                </a:ext>
              </a:extLst>
            </p:cNvPr>
            <p:cNvSpPr/>
            <p:nvPr/>
          </p:nvSpPr>
          <p:spPr>
            <a:xfrm>
              <a:off x="9938647" y="3464092"/>
              <a:ext cx="809699" cy="800460"/>
            </a:xfrm>
            <a:custGeom>
              <a:avLst/>
              <a:gdLst>
                <a:gd name="connsiteX0" fmla="*/ 0 w 809699"/>
                <a:gd name="connsiteY0" fmla="*/ 400230 h 800460"/>
                <a:gd name="connsiteX1" fmla="*/ 404848 w 809699"/>
                <a:gd name="connsiteY1" fmla="*/ 0 h 800460"/>
                <a:gd name="connsiteX2" fmla="*/ 809699 w 809699"/>
                <a:gd name="connsiteY2" fmla="*/ 400230 h 800460"/>
                <a:gd name="connsiteX3" fmla="*/ 404848 w 809699"/>
                <a:gd name="connsiteY3" fmla="*/ 800460 h 800460"/>
                <a:gd name="connsiteX4" fmla="*/ 0 w 809699"/>
                <a:gd name="connsiteY4" fmla="*/ 400230 h 800460"/>
                <a:gd name="connsiteX5" fmla="*/ 614176 w 809699"/>
                <a:gd name="connsiteY5" fmla="*/ 400230 h 800460"/>
                <a:gd name="connsiteX6" fmla="*/ 404848 w 809699"/>
                <a:gd name="connsiteY6" fmla="*/ 167794 h 800460"/>
                <a:gd name="connsiteX7" fmla="*/ 195523 w 809699"/>
                <a:gd name="connsiteY7" fmla="*/ 400230 h 800460"/>
                <a:gd name="connsiteX8" fmla="*/ 404848 w 809699"/>
                <a:gd name="connsiteY8" fmla="*/ 632666 h 800460"/>
                <a:gd name="connsiteX9" fmla="*/ 614176 w 809699"/>
                <a:gd name="connsiteY9" fmla="*/ 400230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9699" h="800460">
                  <a:moveTo>
                    <a:pt x="0" y="400230"/>
                  </a:moveTo>
                  <a:cubicBezTo>
                    <a:pt x="0" y="169335"/>
                    <a:pt x="169335" y="0"/>
                    <a:pt x="404848" y="0"/>
                  </a:cubicBezTo>
                  <a:cubicBezTo>
                    <a:pt x="640364" y="0"/>
                    <a:pt x="809699" y="169335"/>
                    <a:pt x="809699" y="400230"/>
                  </a:cubicBezTo>
                  <a:cubicBezTo>
                    <a:pt x="809699" y="631126"/>
                    <a:pt x="640364" y="800460"/>
                    <a:pt x="404848" y="800460"/>
                  </a:cubicBezTo>
                  <a:cubicBezTo>
                    <a:pt x="169335" y="800460"/>
                    <a:pt x="0" y="631126"/>
                    <a:pt x="0" y="400230"/>
                  </a:cubicBezTo>
                  <a:close/>
                  <a:moveTo>
                    <a:pt x="614176" y="400230"/>
                  </a:moveTo>
                  <a:cubicBezTo>
                    <a:pt x="614176" y="261704"/>
                    <a:pt x="529511" y="167794"/>
                    <a:pt x="404848" y="167794"/>
                  </a:cubicBezTo>
                  <a:cubicBezTo>
                    <a:pt x="280188" y="167794"/>
                    <a:pt x="195523" y="261704"/>
                    <a:pt x="195523" y="400230"/>
                  </a:cubicBezTo>
                  <a:cubicBezTo>
                    <a:pt x="195523" y="538755"/>
                    <a:pt x="278648" y="632666"/>
                    <a:pt x="404848" y="632666"/>
                  </a:cubicBezTo>
                  <a:cubicBezTo>
                    <a:pt x="531051" y="632666"/>
                    <a:pt x="614176" y="538755"/>
                    <a:pt x="614176" y="400230"/>
                  </a:cubicBez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1" name="Frihåndsform: figur 10">
              <a:extLst>
                <a:ext uri="{FF2B5EF4-FFF2-40B4-BE49-F238E27FC236}">
                  <a16:creationId xmlns:a16="http://schemas.microsoft.com/office/drawing/2014/main" id="{84D419A0-16E5-7AE8-AB63-3D78AFFCC9DF}"/>
                </a:ext>
              </a:extLst>
            </p:cNvPr>
            <p:cNvSpPr/>
            <p:nvPr/>
          </p:nvSpPr>
          <p:spPr>
            <a:xfrm>
              <a:off x="10850844" y="3464092"/>
              <a:ext cx="723428" cy="788073"/>
            </a:xfrm>
            <a:custGeom>
              <a:avLst/>
              <a:gdLst>
                <a:gd name="connsiteX0" fmla="*/ 0 w 723428"/>
                <a:gd name="connsiteY0" fmla="*/ 12265 h 788073"/>
                <a:gd name="connsiteX1" fmla="*/ 193922 w 723428"/>
                <a:gd name="connsiteY1" fmla="*/ 12265 h 788073"/>
                <a:gd name="connsiteX2" fmla="*/ 193922 w 723428"/>
                <a:gd name="connsiteY2" fmla="*/ 129282 h 788073"/>
                <a:gd name="connsiteX3" fmla="*/ 440221 w 723428"/>
                <a:gd name="connsiteY3" fmla="*/ 0 h 788073"/>
                <a:gd name="connsiteX4" fmla="*/ 723428 w 723428"/>
                <a:gd name="connsiteY4" fmla="*/ 280130 h 788073"/>
                <a:gd name="connsiteX5" fmla="*/ 723428 w 723428"/>
                <a:gd name="connsiteY5" fmla="*/ 788073 h 788073"/>
                <a:gd name="connsiteX6" fmla="*/ 529511 w 723428"/>
                <a:gd name="connsiteY6" fmla="*/ 788073 h 788073"/>
                <a:gd name="connsiteX7" fmla="*/ 529511 w 723428"/>
                <a:gd name="connsiteY7" fmla="*/ 326285 h 788073"/>
                <a:gd name="connsiteX8" fmla="*/ 381744 w 723428"/>
                <a:gd name="connsiteY8" fmla="*/ 172357 h 788073"/>
                <a:gd name="connsiteX9" fmla="*/ 193922 w 723428"/>
                <a:gd name="connsiteY9" fmla="*/ 447868 h 788073"/>
                <a:gd name="connsiteX10" fmla="*/ 193922 w 723428"/>
                <a:gd name="connsiteY10" fmla="*/ 788073 h 788073"/>
                <a:gd name="connsiteX11" fmla="*/ 0 w 723428"/>
                <a:gd name="connsiteY11" fmla="*/ 788073 h 788073"/>
                <a:gd name="connsiteX12" fmla="*/ 0 w 723428"/>
                <a:gd name="connsiteY12" fmla="*/ 12265 h 7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28" h="788073">
                  <a:moveTo>
                    <a:pt x="0" y="12265"/>
                  </a:moveTo>
                  <a:lnTo>
                    <a:pt x="193922" y="12265"/>
                  </a:lnTo>
                  <a:lnTo>
                    <a:pt x="193922" y="129282"/>
                  </a:lnTo>
                  <a:cubicBezTo>
                    <a:pt x="243157" y="53858"/>
                    <a:pt x="330907" y="0"/>
                    <a:pt x="440221" y="0"/>
                  </a:cubicBezTo>
                  <a:cubicBezTo>
                    <a:pt x="609555" y="0"/>
                    <a:pt x="723428" y="110856"/>
                    <a:pt x="723428" y="280130"/>
                  </a:cubicBezTo>
                  <a:lnTo>
                    <a:pt x="723428" y="788073"/>
                  </a:lnTo>
                  <a:lnTo>
                    <a:pt x="529511" y="788073"/>
                  </a:lnTo>
                  <a:lnTo>
                    <a:pt x="529511" y="326285"/>
                  </a:lnTo>
                  <a:cubicBezTo>
                    <a:pt x="529511" y="235459"/>
                    <a:pt x="472570" y="172357"/>
                    <a:pt x="381744" y="172357"/>
                  </a:cubicBezTo>
                  <a:cubicBezTo>
                    <a:pt x="263242" y="172357"/>
                    <a:pt x="193922" y="273969"/>
                    <a:pt x="193922" y="447868"/>
                  </a:cubicBezTo>
                  <a:lnTo>
                    <a:pt x="193922" y="788073"/>
                  </a:lnTo>
                  <a:lnTo>
                    <a:pt x="0" y="788073"/>
                  </a:lnTo>
                  <a:lnTo>
                    <a:pt x="0" y="12265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2" name="Frihåndsform: figur 11">
              <a:extLst>
                <a:ext uri="{FF2B5EF4-FFF2-40B4-BE49-F238E27FC236}">
                  <a16:creationId xmlns:a16="http://schemas.microsoft.com/office/drawing/2014/main" id="{8EA457A3-7137-C295-10D0-74F52FDF4131}"/>
                </a:ext>
              </a:extLst>
            </p:cNvPr>
            <p:cNvSpPr/>
            <p:nvPr/>
          </p:nvSpPr>
          <p:spPr>
            <a:xfrm>
              <a:off x="11706719" y="3464092"/>
              <a:ext cx="723432" cy="788073"/>
            </a:xfrm>
            <a:custGeom>
              <a:avLst/>
              <a:gdLst>
                <a:gd name="connsiteX0" fmla="*/ 0 w 723432"/>
                <a:gd name="connsiteY0" fmla="*/ 12265 h 788073"/>
                <a:gd name="connsiteX1" fmla="*/ 193934 w 723432"/>
                <a:gd name="connsiteY1" fmla="*/ 12265 h 788073"/>
                <a:gd name="connsiteX2" fmla="*/ 193934 w 723432"/>
                <a:gd name="connsiteY2" fmla="*/ 129282 h 788073"/>
                <a:gd name="connsiteX3" fmla="*/ 440212 w 723432"/>
                <a:gd name="connsiteY3" fmla="*/ 0 h 788073"/>
                <a:gd name="connsiteX4" fmla="*/ 723433 w 723432"/>
                <a:gd name="connsiteY4" fmla="*/ 280130 h 788073"/>
                <a:gd name="connsiteX5" fmla="*/ 723433 w 723432"/>
                <a:gd name="connsiteY5" fmla="*/ 788073 h 788073"/>
                <a:gd name="connsiteX6" fmla="*/ 529499 w 723432"/>
                <a:gd name="connsiteY6" fmla="*/ 788073 h 788073"/>
                <a:gd name="connsiteX7" fmla="*/ 529499 w 723432"/>
                <a:gd name="connsiteY7" fmla="*/ 326285 h 788073"/>
                <a:gd name="connsiteX8" fmla="*/ 381731 w 723432"/>
                <a:gd name="connsiteY8" fmla="*/ 172357 h 788073"/>
                <a:gd name="connsiteX9" fmla="*/ 193934 w 723432"/>
                <a:gd name="connsiteY9" fmla="*/ 447868 h 788073"/>
                <a:gd name="connsiteX10" fmla="*/ 193934 w 723432"/>
                <a:gd name="connsiteY10" fmla="*/ 788073 h 788073"/>
                <a:gd name="connsiteX11" fmla="*/ 0 w 723432"/>
                <a:gd name="connsiteY11" fmla="*/ 788073 h 788073"/>
                <a:gd name="connsiteX12" fmla="*/ 0 w 723432"/>
                <a:gd name="connsiteY12" fmla="*/ 12265 h 7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32" h="788073">
                  <a:moveTo>
                    <a:pt x="0" y="12265"/>
                  </a:moveTo>
                  <a:lnTo>
                    <a:pt x="193934" y="12265"/>
                  </a:lnTo>
                  <a:lnTo>
                    <a:pt x="193934" y="129282"/>
                  </a:lnTo>
                  <a:cubicBezTo>
                    <a:pt x="243149" y="53858"/>
                    <a:pt x="330931" y="0"/>
                    <a:pt x="440212" y="0"/>
                  </a:cubicBezTo>
                  <a:cubicBezTo>
                    <a:pt x="609559" y="0"/>
                    <a:pt x="723433" y="110856"/>
                    <a:pt x="723433" y="280130"/>
                  </a:cubicBezTo>
                  <a:lnTo>
                    <a:pt x="723433" y="788073"/>
                  </a:lnTo>
                  <a:lnTo>
                    <a:pt x="529499" y="788073"/>
                  </a:lnTo>
                  <a:lnTo>
                    <a:pt x="529499" y="326285"/>
                  </a:lnTo>
                  <a:cubicBezTo>
                    <a:pt x="529499" y="235459"/>
                    <a:pt x="472562" y="172357"/>
                    <a:pt x="381731" y="172357"/>
                  </a:cubicBezTo>
                  <a:cubicBezTo>
                    <a:pt x="263266" y="172357"/>
                    <a:pt x="193934" y="273969"/>
                    <a:pt x="193934" y="447868"/>
                  </a:cubicBezTo>
                  <a:lnTo>
                    <a:pt x="193934" y="788073"/>
                  </a:lnTo>
                  <a:lnTo>
                    <a:pt x="0" y="788073"/>
                  </a:lnTo>
                  <a:lnTo>
                    <a:pt x="0" y="12265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3" name="Frihåndsform: figur 12">
              <a:extLst>
                <a:ext uri="{FF2B5EF4-FFF2-40B4-BE49-F238E27FC236}">
                  <a16:creationId xmlns:a16="http://schemas.microsoft.com/office/drawing/2014/main" id="{5E76CF7E-69C9-3A6A-9858-B95B7B619047}"/>
                </a:ext>
              </a:extLst>
            </p:cNvPr>
            <p:cNvSpPr/>
            <p:nvPr/>
          </p:nvSpPr>
          <p:spPr>
            <a:xfrm>
              <a:off x="12532930" y="3464092"/>
              <a:ext cx="772728" cy="800460"/>
            </a:xfrm>
            <a:custGeom>
              <a:avLst/>
              <a:gdLst>
                <a:gd name="connsiteX0" fmla="*/ 769600 w 772728"/>
                <a:gd name="connsiteY0" fmla="*/ 451005 h 800460"/>
                <a:gd name="connsiteX1" fmla="*/ 193934 w 772728"/>
                <a:gd name="connsiteY1" fmla="*/ 451005 h 800460"/>
                <a:gd name="connsiteX2" fmla="*/ 397094 w 772728"/>
                <a:gd name="connsiteY2" fmla="*/ 637287 h 800460"/>
                <a:gd name="connsiteX3" fmla="*/ 572577 w 772728"/>
                <a:gd name="connsiteY3" fmla="*/ 518789 h 800460"/>
                <a:gd name="connsiteX4" fmla="*/ 754238 w 772728"/>
                <a:gd name="connsiteY4" fmla="*/ 568024 h 800460"/>
                <a:gd name="connsiteX5" fmla="*/ 394086 w 772728"/>
                <a:gd name="connsiteY5" fmla="*/ 800460 h 800460"/>
                <a:gd name="connsiteX6" fmla="*/ 0 w 772728"/>
                <a:gd name="connsiteY6" fmla="*/ 400230 h 800460"/>
                <a:gd name="connsiteX7" fmla="*/ 383275 w 772728"/>
                <a:gd name="connsiteY7" fmla="*/ 0 h 800460"/>
                <a:gd name="connsiteX8" fmla="*/ 772729 w 772728"/>
                <a:gd name="connsiteY8" fmla="*/ 374041 h 800460"/>
                <a:gd name="connsiteX9" fmla="*/ 769640 w 772728"/>
                <a:gd name="connsiteY9" fmla="*/ 451005 h 800460"/>
                <a:gd name="connsiteX10" fmla="*/ 769600 w 772728"/>
                <a:gd name="connsiteY10" fmla="*/ 451005 h 800460"/>
                <a:gd name="connsiteX11" fmla="*/ 564896 w 772728"/>
                <a:gd name="connsiteY11" fmla="*/ 309399 h 800460"/>
                <a:gd name="connsiteX12" fmla="*/ 383235 w 772728"/>
                <a:gd name="connsiteY12" fmla="*/ 147768 h 800460"/>
                <a:gd name="connsiteX13" fmla="*/ 198486 w 772728"/>
                <a:gd name="connsiteY13" fmla="*/ 309399 h 800460"/>
                <a:gd name="connsiteX14" fmla="*/ 564815 w 772728"/>
                <a:gd name="connsiteY14" fmla="*/ 309399 h 800460"/>
                <a:gd name="connsiteX15" fmla="*/ 564896 w 772728"/>
                <a:gd name="connsiteY15" fmla="*/ 309399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2728" h="800460">
                  <a:moveTo>
                    <a:pt x="769600" y="451005"/>
                  </a:moveTo>
                  <a:lnTo>
                    <a:pt x="193934" y="451005"/>
                  </a:lnTo>
                  <a:cubicBezTo>
                    <a:pt x="210881" y="568024"/>
                    <a:pt x="286309" y="637287"/>
                    <a:pt x="397094" y="637287"/>
                  </a:cubicBezTo>
                  <a:cubicBezTo>
                    <a:pt x="487924" y="637287"/>
                    <a:pt x="552582" y="594213"/>
                    <a:pt x="572577" y="518789"/>
                  </a:cubicBezTo>
                  <a:lnTo>
                    <a:pt x="754238" y="568024"/>
                  </a:lnTo>
                  <a:cubicBezTo>
                    <a:pt x="711159" y="714251"/>
                    <a:pt x="575666" y="800460"/>
                    <a:pt x="394086" y="800460"/>
                  </a:cubicBezTo>
                  <a:cubicBezTo>
                    <a:pt x="136997" y="800460"/>
                    <a:pt x="0" y="601914"/>
                    <a:pt x="0" y="400230"/>
                  </a:cubicBezTo>
                  <a:cubicBezTo>
                    <a:pt x="0" y="198546"/>
                    <a:pt x="126228" y="0"/>
                    <a:pt x="383275" y="0"/>
                  </a:cubicBezTo>
                  <a:cubicBezTo>
                    <a:pt x="640364" y="0"/>
                    <a:pt x="772729" y="193925"/>
                    <a:pt x="772729" y="374041"/>
                  </a:cubicBezTo>
                  <a:cubicBezTo>
                    <a:pt x="772729" y="401770"/>
                    <a:pt x="771185" y="435603"/>
                    <a:pt x="769640" y="451005"/>
                  </a:cubicBezTo>
                  <a:lnTo>
                    <a:pt x="769600" y="451005"/>
                  </a:lnTo>
                  <a:close/>
                  <a:moveTo>
                    <a:pt x="564896" y="309399"/>
                  </a:moveTo>
                  <a:cubicBezTo>
                    <a:pt x="555630" y="217029"/>
                    <a:pt x="495645" y="147768"/>
                    <a:pt x="383235" y="147768"/>
                  </a:cubicBezTo>
                  <a:cubicBezTo>
                    <a:pt x="287772" y="147768"/>
                    <a:pt x="220066" y="204707"/>
                    <a:pt x="198486" y="309399"/>
                  </a:cubicBezTo>
                  <a:lnTo>
                    <a:pt x="564815" y="309399"/>
                  </a:lnTo>
                  <a:lnTo>
                    <a:pt x="564896" y="309399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4" name="Frihåndsform: figur 13">
              <a:extLst>
                <a:ext uri="{FF2B5EF4-FFF2-40B4-BE49-F238E27FC236}">
                  <a16:creationId xmlns:a16="http://schemas.microsoft.com/office/drawing/2014/main" id="{9576EDA1-1278-DCD3-578B-5270D5196CD7}"/>
                </a:ext>
              </a:extLst>
            </p:cNvPr>
            <p:cNvSpPr/>
            <p:nvPr/>
          </p:nvSpPr>
          <p:spPr>
            <a:xfrm>
              <a:off x="13390475" y="3464092"/>
              <a:ext cx="758870" cy="800517"/>
            </a:xfrm>
            <a:custGeom>
              <a:avLst/>
              <a:gdLst>
                <a:gd name="connsiteX0" fmla="*/ 0 w 758870"/>
                <a:gd name="connsiteY0" fmla="*/ 400230 h 800517"/>
                <a:gd name="connsiteX1" fmla="*/ 394045 w 758870"/>
                <a:gd name="connsiteY1" fmla="*/ 0 h 800517"/>
                <a:gd name="connsiteX2" fmla="*/ 758870 w 758870"/>
                <a:gd name="connsiteY2" fmla="*/ 267808 h 800517"/>
                <a:gd name="connsiteX3" fmla="*/ 569570 w 758870"/>
                <a:gd name="connsiteY3" fmla="*/ 304778 h 800517"/>
                <a:gd name="connsiteX4" fmla="*/ 400222 w 758870"/>
                <a:gd name="connsiteY4" fmla="*/ 167794 h 800517"/>
                <a:gd name="connsiteX5" fmla="*/ 201696 w 758870"/>
                <a:gd name="connsiteY5" fmla="*/ 400230 h 800517"/>
                <a:gd name="connsiteX6" fmla="*/ 400222 w 758870"/>
                <a:gd name="connsiteY6" fmla="*/ 632666 h 800517"/>
                <a:gd name="connsiteX7" fmla="*/ 569570 w 758870"/>
                <a:gd name="connsiteY7" fmla="*/ 500302 h 800517"/>
                <a:gd name="connsiteX8" fmla="*/ 758870 w 758870"/>
                <a:gd name="connsiteY8" fmla="*/ 538812 h 800517"/>
                <a:gd name="connsiteX9" fmla="*/ 394045 w 758870"/>
                <a:gd name="connsiteY9" fmla="*/ 800517 h 800517"/>
                <a:gd name="connsiteX10" fmla="*/ 0 w 758870"/>
                <a:gd name="connsiteY10" fmla="*/ 400291 h 800517"/>
                <a:gd name="connsiteX11" fmla="*/ 0 w 758870"/>
                <a:gd name="connsiteY11" fmla="*/ 400230 h 80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870" h="800517">
                  <a:moveTo>
                    <a:pt x="0" y="400230"/>
                  </a:moveTo>
                  <a:cubicBezTo>
                    <a:pt x="0" y="163173"/>
                    <a:pt x="161625" y="0"/>
                    <a:pt x="394045" y="0"/>
                  </a:cubicBezTo>
                  <a:cubicBezTo>
                    <a:pt x="592612" y="0"/>
                    <a:pt x="732739" y="103153"/>
                    <a:pt x="758870" y="267808"/>
                  </a:cubicBezTo>
                  <a:lnTo>
                    <a:pt x="569570" y="304778"/>
                  </a:lnTo>
                  <a:cubicBezTo>
                    <a:pt x="555711" y="223194"/>
                    <a:pt x="491053" y="167794"/>
                    <a:pt x="400222" y="167794"/>
                  </a:cubicBezTo>
                  <a:cubicBezTo>
                    <a:pt x="280172" y="167794"/>
                    <a:pt x="201696" y="258624"/>
                    <a:pt x="201696" y="400230"/>
                  </a:cubicBezTo>
                  <a:cubicBezTo>
                    <a:pt x="201696" y="541836"/>
                    <a:pt x="280172" y="632666"/>
                    <a:pt x="400222" y="632666"/>
                  </a:cubicBezTo>
                  <a:cubicBezTo>
                    <a:pt x="491053" y="632666"/>
                    <a:pt x="551078" y="583427"/>
                    <a:pt x="569570" y="500302"/>
                  </a:cubicBezTo>
                  <a:lnTo>
                    <a:pt x="758870" y="538812"/>
                  </a:lnTo>
                  <a:cubicBezTo>
                    <a:pt x="729569" y="701986"/>
                    <a:pt x="589524" y="800517"/>
                    <a:pt x="394045" y="800517"/>
                  </a:cubicBezTo>
                  <a:cubicBezTo>
                    <a:pt x="161625" y="800517"/>
                    <a:pt x="0" y="637344"/>
                    <a:pt x="0" y="400291"/>
                  </a:cubicBezTo>
                  <a:lnTo>
                    <a:pt x="0" y="400230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5" name="Frihåndsform: figur 14">
              <a:extLst>
                <a:ext uri="{FF2B5EF4-FFF2-40B4-BE49-F238E27FC236}">
                  <a16:creationId xmlns:a16="http://schemas.microsoft.com/office/drawing/2014/main" id="{8CFE373D-EE51-8A5F-2B5B-735840F78F68}"/>
                </a:ext>
              </a:extLst>
            </p:cNvPr>
            <p:cNvSpPr/>
            <p:nvPr/>
          </p:nvSpPr>
          <p:spPr>
            <a:xfrm>
              <a:off x="14204575" y="3248590"/>
              <a:ext cx="515639" cy="1015890"/>
            </a:xfrm>
            <a:custGeom>
              <a:avLst/>
              <a:gdLst>
                <a:gd name="connsiteX0" fmla="*/ 404774 w 515639"/>
                <a:gd name="connsiteY0" fmla="*/ 1015890 h 1015890"/>
                <a:gd name="connsiteX1" fmla="*/ 130820 w 515639"/>
                <a:gd name="connsiteY1" fmla="*/ 749621 h 1015890"/>
                <a:gd name="connsiteX2" fmla="*/ 130820 w 515639"/>
                <a:gd name="connsiteY2" fmla="*/ 390986 h 1015890"/>
                <a:gd name="connsiteX3" fmla="*/ 0 w 515639"/>
                <a:gd name="connsiteY3" fmla="*/ 390986 h 1015890"/>
                <a:gd name="connsiteX4" fmla="*/ 0 w 515639"/>
                <a:gd name="connsiteY4" fmla="*/ 227814 h 1015890"/>
                <a:gd name="connsiteX5" fmla="*/ 130820 w 515639"/>
                <a:gd name="connsiteY5" fmla="*/ 227814 h 1015890"/>
                <a:gd name="connsiteX6" fmla="*/ 130820 w 515639"/>
                <a:gd name="connsiteY6" fmla="*/ 0 h 1015890"/>
                <a:gd name="connsiteX7" fmla="*/ 324754 w 515639"/>
                <a:gd name="connsiteY7" fmla="*/ 0 h 1015890"/>
                <a:gd name="connsiteX8" fmla="*/ 324754 w 515639"/>
                <a:gd name="connsiteY8" fmla="*/ 227814 h 1015890"/>
                <a:gd name="connsiteX9" fmla="*/ 515518 w 515639"/>
                <a:gd name="connsiteY9" fmla="*/ 227814 h 1015890"/>
                <a:gd name="connsiteX10" fmla="*/ 515518 w 515639"/>
                <a:gd name="connsiteY10" fmla="*/ 390986 h 1015890"/>
                <a:gd name="connsiteX11" fmla="*/ 324754 w 515639"/>
                <a:gd name="connsiteY11" fmla="*/ 390986 h 1015890"/>
                <a:gd name="connsiteX12" fmla="*/ 324754 w 515639"/>
                <a:gd name="connsiteY12" fmla="*/ 731138 h 1015890"/>
                <a:gd name="connsiteX13" fmla="*/ 424810 w 515639"/>
                <a:gd name="connsiteY13" fmla="*/ 845072 h 1015890"/>
                <a:gd name="connsiteX14" fmla="*/ 515640 w 515639"/>
                <a:gd name="connsiteY14" fmla="*/ 826589 h 1015890"/>
                <a:gd name="connsiteX15" fmla="*/ 515518 w 515639"/>
                <a:gd name="connsiteY15" fmla="*/ 1000484 h 1015890"/>
                <a:gd name="connsiteX16" fmla="*/ 404774 w 515639"/>
                <a:gd name="connsiteY16" fmla="*/ 101589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5639" h="1015890">
                  <a:moveTo>
                    <a:pt x="404774" y="1015890"/>
                  </a:moveTo>
                  <a:cubicBezTo>
                    <a:pt x="247782" y="1015890"/>
                    <a:pt x="130820" y="931221"/>
                    <a:pt x="130820" y="749621"/>
                  </a:cubicBezTo>
                  <a:lnTo>
                    <a:pt x="130820" y="390986"/>
                  </a:lnTo>
                  <a:lnTo>
                    <a:pt x="0" y="390986"/>
                  </a:lnTo>
                  <a:lnTo>
                    <a:pt x="0" y="227814"/>
                  </a:lnTo>
                  <a:lnTo>
                    <a:pt x="130820" y="227814"/>
                  </a:lnTo>
                  <a:lnTo>
                    <a:pt x="130820" y="0"/>
                  </a:lnTo>
                  <a:lnTo>
                    <a:pt x="324754" y="0"/>
                  </a:lnTo>
                  <a:lnTo>
                    <a:pt x="324754" y="227814"/>
                  </a:lnTo>
                  <a:lnTo>
                    <a:pt x="515518" y="227814"/>
                  </a:lnTo>
                  <a:lnTo>
                    <a:pt x="515518" y="390986"/>
                  </a:lnTo>
                  <a:lnTo>
                    <a:pt x="324754" y="390986"/>
                  </a:lnTo>
                  <a:lnTo>
                    <a:pt x="324754" y="731138"/>
                  </a:lnTo>
                  <a:cubicBezTo>
                    <a:pt x="324754" y="805022"/>
                    <a:pt x="364744" y="845072"/>
                    <a:pt x="424810" y="845072"/>
                  </a:cubicBezTo>
                  <a:cubicBezTo>
                    <a:pt x="454070" y="845072"/>
                    <a:pt x="487924" y="840452"/>
                    <a:pt x="515640" y="826589"/>
                  </a:cubicBezTo>
                  <a:lnTo>
                    <a:pt x="515518" y="1000484"/>
                  </a:lnTo>
                  <a:cubicBezTo>
                    <a:pt x="476138" y="1011981"/>
                    <a:pt x="449478" y="1015890"/>
                    <a:pt x="404774" y="1015890"/>
                  </a:cubicBez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6" name="Frihåndsform: figur 15">
              <a:extLst>
                <a:ext uri="{FF2B5EF4-FFF2-40B4-BE49-F238E27FC236}">
                  <a16:creationId xmlns:a16="http://schemas.microsoft.com/office/drawing/2014/main" id="{A03EFA0C-58F5-E13A-E3F1-917FEC86F53D}"/>
                </a:ext>
              </a:extLst>
            </p:cNvPr>
            <p:cNvSpPr/>
            <p:nvPr/>
          </p:nvSpPr>
          <p:spPr>
            <a:xfrm>
              <a:off x="15237847" y="3248590"/>
              <a:ext cx="785001" cy="1015947"/>
            </a:xfrm>
            <a:custGeom>
              <a:avLst/>
              <a:gdLst>
                <a:gd name="connsiteX0" fmla="*/ 193934 w 785001"/>
                <a:gd name="connsiteY0" fmla="*/ 914335 h 1015947"/>
                <a:gd name="connsiteX1" fmla="*/ 193934 w 785001"/>
                <a:gd name="connsiteY1" fmla="*/ 1003625 h 1015947"/>
                <a:gd name="connsiteX2" fmla="*/ 0 w 785001"/>
                <a:gd name="connsiteY2" fmla="*/ 1003625 h 1015947"/>
                <a:gd name="connsiteX3" fmla="*/ 0 w 785001"/>
                <a:gd name="connsiteY3" fmla="*/ 0 h 1015947"/>
                <a:gd name="connsiteX4" fmla="*/ 193934 w 785001"/>
                <a:gd name="connsiteY4" fmla="*/ 0 h 1015947"/>
                <a:gd name="connsiteX5" fmla="*/ 193934 w 785001"/>
                <a:gd name="connsiteY5" fmla="*/ 314022 h 1015947"/>
                <a:gd name="connsiteX6" fmla="*/ 418632 w 785001"/>
                <a:gd name="connsiteY6" fmla="*/ 215490 h 1015947"/>
                <a:gd name="connsiteX7" fmla="*/ 785002 w 785001"/>
                <a:gd name="connsiteY7" fmla="*/ 615720 h 1015947"/>
                <a:gd name="connsiteX8" fmla="*/ 415585 w 785001"/>
                <a:gd name="connsiteY8" fmla="*/ 1015947 h 1015947"/>
                <a:gd name="connsiteX9" fmla="*/ 193934 w 785001"/>
                <a:gd name="connsiteY9" fmla="*/ 914335 h 1015947"/>
                <a:gd name="connsiteX10" fmla="*/ 592612 w 785001"/>
                <a:gd name="connsiteY10" fmla="*/ 615720 h 1015947"/>
                <a:gd name="connsiteX11" fmla="*/ 387909 w 785001"/>
                <a:gd name="connsiteY11" fmla="*/ 383284 h 1015947"/>
                <a:gd name="connsiteX12" fmla="*/ 181660 w 785001"/>
                <a:gd name="connsiteY12" fmla="*/ 615720 h 1015947"/>
                <a:gd name="connsiteX13" fmla="*/ 387909 w 785001"/>
                <a:gd name="connsiteY13" fmla="*/ 848153 h 1015947"/>
                <a:gd name="connsiteX14" fmla="*/ 592612 w 785001"/>
                <a:gd name="connsiteY14" fmla="*/ 615720 h 1015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5001" h="1015947">
                  <a:moveTo>
                    <a:pt x="193934" y="914335"/>
                  </a:moveTo>
                  <a:lnTo>
                    <a:pt x="193934" y="1003625"/>
                  </a:lnTo>
                  <a:lnTo>
                    <a:pt x="0" y="1003625"/>
                  </a:lnTo>
                  <a:lnTo>
                    <a:pt x="0" y="0"/>
                  </a:lnTo>
                  <a:lnTo>
                    <a:pt x="193934" y="0"/>
                  </a:lnTo>
                  <a:lnTo>
                    <a:pt x="193934" y="314022"/>
                  </a:lnTo>
                  <a:cubicBezTo>
                    <a:pt x="238516" y="255542"/>
                    <a:pt x="321665" y="215490"/>
                    <a:pt x="418632" y="215490"/>
                  </a:cubicBezTo>
                  <a:cubicBezTo>
                    <a:pt x="648004" y="215490"/>
                    <a:pt x="785002" y="378662"/>
                    <a:pt x="785002" y="615720"/>
                  </a:cubicBezTo>
                  <a:cubicBezTo>
                    <a:pt x="785002" y="852778"/>
                    <a:pt x="648004" y="1015947"/>
                    <a:pt x="415585" y="1015947"/>
                  </a:cubicBezTo>
                  <a:cubicBezTo>
                    <a:pt x="320121" y="1015947"/>
                    <a:pt x="232379" y="975953"/>
                    <a:pt x="193934" y="914335"/>
                  </a:cubicBezTo>
                  <a:close/>
                  <a:moveTo>
                    <a:pt x="592612" y="615720"/>
                  </a:moveTo>
                  <a:cubicBezTo>
                    <a:pt x="592612" y="475655"/>
                    <a:pt x="511007" y="383284"/>
                    <a:pt x="387909" y="383284"/>
                  </a:cubicBezTo>
                  <a:cubicBezTo>
                    <a:pt x="264770" y="383284"/>
                    <a:pt x="181660" y="475655"/>
                    <a:pt x="181660" y="615720"/>
                  </a:cubicBezTo>
                  <a:cubicBezTo>
                    <a:pt x="181660" y="755786"/>
                    <a:pt x="263225" y="848153"/>
                    <a:pt x="387909" y="848153"/>
                  </a:cubicBezTo>
                  <a:cubicBezTo>
                    <a:pt x="512552" y="848153"/>
                    <a:pt x="592612" y="755786"/>
                    <a:pt x="592612" y="615720"/>
                  </a:cubicBez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7" name="Frihåndsform: figur 16">
              <a:extLst>
                <a:ext uri="{FF2B5EF4-FFF2-40B4-BE49-F238E27FC236}">
                  <a16:creationId xmlns:a16="http://schemas.microsoft.com/office/drawing/2014/main" id="{1B57FB1D-4B68-D7E7-1F56-3F5B6CADC15D}"/>
                </a:ext>
              </a:extLst>
            </p:cNvPr>
            <p:cNvSpPr/>
            <p:nvPr/>
          </p:nvSpPr>
          <p:spPr>
            <a:xfrm>
              <a:off x="16115630" y="3476396"/>
              <a:ext cx="723432" cy="788132"/>
            </a:xfrm>
            <a:custGeom>
              <a:avLst/>
              <a:gdLst>
                <a:gd name="connsiteX0" fmla="*/ 723432 w 723432"/>
                <a:gd name="connsiteY0" fmla="*/ 775811 h 788132"/>
                <a:gd name="connsiteX1" fmla="*/ 529498 w 723432"/>
                <a:gd name="connsiteY1" fmla="*/ 775811 h 788132"/>
                <a:gd name="connsiteX2" fmla="*/ 529498 w 723432"/>
                <a:gd name="connsiteY2" fmla="*/ 658853 h 788132"/>
                <a:gd name="connsiteX3" fmla="*/ 283220 w 723432"/>
                <a:gd name="connsiteY3" fmla="*/ 788133 h 788132"/>
                <a:gd name="connsiteX4" fmla="*/ 0 w 723432"/>
                <a:gd name="connsiteY4" fmla="*/ 508005 h 788132"/>
                <a:gd name="connsiteX5" fmla="*/ 0 w 723432"/>
                <a:gd name="connsiteY5" fmla="*/ 0 h 788132"/>
                <a:gd name="connsiteX6" fmla="*/ 193934 w 723432"/>
                <a:gd name="connsiteY6" fmla="*/ 0 h 788132"/>
                <a:gd name="connsiteX7" fmla="*/ 193934 w 723432"/>
                <a:gd name="connsiteY7" fmla="*/ 461789 h 788132"/>
                <a:gd name="connsiteX8" fmla="*/ 341701 w 723432"/>
                <a:gd name="connsiteY8" fmla="*/ 615718 h 788132"/>
                <a:gd name="connsiteX9" fmla="*/ 529498 w 723432"/>
                <a:gd name="connsiteY9" fmla="*/ 340211 h 788132"/>
                <a:gd name="connsiteX10" fmla="*/ 529498 w 723432"/>
                <a:gd name="connsiteY10" fmla="*/ 0 h 788132"/>
                <a:gd name="connsiteX11" fmla="*/ 723432 w 723432"/>
                <a:gd name="connsiteY11" fmla="*/ 0 h 788132"/>
                <a:gd name="connsiteX12" fmla="*/ 723432 w 723432"/>
                <a:gd name="connsiteY12" fmla="*/ 775811 h 78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3432" h="788132">
                  <a:moveTo>
                    <a:pt x="723432" y="775811"/>
                  </a:moveTo>
                  <a:lnTo>
                    <a:pt x="529498" y="775811"/>
                  </a:lnTo>
                  <a:lnTo>
                    <a:pt x="529498" y="658853"/>
                  </a:lnTo>
                  <a:cubicBezTo>
                    <a:pt x="480283" y="734277"/>
                    <a:pt x="392542" y="788133"/>
                    <a:pt x="283220" y="788133"/>
                  </a:cubicBezTo>
                  <a:cubicBezTo>
                    <a:pt x="115417" y="788133"/>
                    <a:pt x="0" y="677279"/>
                    <a:pt x="0" y="508005"/>
                  </a:cubicBezTo>
                  <a:lnTo>
                    <a:pt x="0" y="0"/>
                  </a:lnTo>
                  <a:lnTo>
                    <a:pt x="193934" y="0"/>
                  </a:lnTo>
                  <a:lnTo>
                    <a:pt x="193934" y="461789"/>
                  </a:lnTo>
                  <a:cubicBezTo>
                    <a:pt x="193934" y="552620"/>
                    <a:pt x="250870" y="615718"/>
                    <a:pt x="341701" y="615718"/>
                  </a:cubicBezTo>
                  <a:cubicBezTo>
                    <a:pt x="461711" y="615718"/>
                    <a:pt x="529498" y="514105"/>
                    <a:pt x="529498" y="340211"/>
                  </a:cubicBezTo>
                  <a:lnTo>
                    <a:pt x="529498" y="0"/>
                  </a:lnTo>
                  <a:lnTo>
                    <a:pt x="723432" y="0"/>
                  </a:lnTo>
                  <a:lnTo>
                    <a:pt x="723432" y="775811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8" name="Frihåndsform: figur 17">
              <a:extLst>
                <a:ext uri="{FF2B5EF4-FFF2-40B4-BE49-F238E27FC236}">
                  <a16:creationId xmlns:a16="http://schemas.microsoft.com/office/drawing/2014/main" id="{85CBBEDA-71B1-4F02-5F8E-6740D0350907}"/>
                </a:ext>
              </a:extLst>
            </p:cNvPr>
            <p:cNvSpPr/>
            <p:nvPr/>
          </p:nvSpPr>
          <p:spPr>
            <a:xfrm>
              <a:off x="16930827" y="3464092"/>
              <a:ext cx="637194" cy="800460"/>
            </a:xfrm>
            <a:custGeom>
              <a:avLst/>
              <a:gdLst>
                <a:gd name="connsiteX0" fmla="*/ 0 w 637194"/>
                <a:gd name="connsiteY0" fmla="*/ 571044 h 800460"/>
                <a:gd name="connsiteX1" fmla="*/ 158537 w 637194"/>
                <a:gd name="connsiteY1" fmla="*/ 506406 h 800460"/>
                <a:gd name="connsiteX2" fmla="*/ 338653 w 637194"/>
                <a:gd name="connsiteY2" fmla="*/ 649552 h 800460"/>
                <a:gd name="connsiteX3" fmla="*/ 458704 w 637194"/>
                <a:gd name="connsiteY3" fmla="*/ 561802 h 800460"/>
                <a:gd name="connsiteX4" fmla="*/ 35398 w 637194"/>
                <a:gd name="connsiteY4" fmla="*/ 217029 h 800460"/>
                <a:gd name="connsiteX5" fmla="*/ 310937 w 637194"/>
                <a:gd name="connsiteY5" fmla="*/ 0 h 800460"/>
                <a:gd name="connsiteX6" fmla="*/ 623417 w 637194"/>
                <a:gd name="connsiteY6" fmla="*/ 189361 h 800460"/>
                <a:gd name="connsiteX7" fmla="*/ 466385 w 637194"/>
                <a:gd name="connsiteY7" fmla="*/ 255543 h 800460"/>
                <a:gd name="connsiteX8" fmla="*/ 313985 w 637194"/>
                <a:gd name="connsiteY8" fmla="*/ 143206 h 800460"/>
                <a:gd name="connsiteX9" fmla="*/ 210840 w 637194"/>
                <a:gd name="connsiteY9" fmla="*/ 214009 h 800460"/>
                <a:gd name="connsiteX10" fmla="*/ 637195 w 637194"/>
                <a:gd name="connsiteY10" fmla="*/ 558783 h 800460"/>
                <a:gd name="connsiteX11" fmla="*/ 338572 w 637194"/>
                <a:gd name="connsiteY11" fmla="*/ 800460 h 800460"/>
                <a:gd name="connsiteX12" fmla="*/ 0 w 637194"/>
                <a:gd name="connsiteY12" fmla="*/ 571105 h 800460"/>
                <a:gd name="connsiteX13" fmla="*/ 0 w 637194"/>
                <a:gd name="connsiteY13" fmla="*/ 571044 h 80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7194" h="800460">
                  <a:moveTo>
                    <a:pt x="0" y="571044"/>
                  </a:moveTo>
                  <a:lnTo>
                    <a:pt x="158537" y="506406"/>
                  </a:lnTo>
                  <a:cubicBezTo>
                    <a:pt x="181621" y="584910"/>
                    <a:pt x="241645" y="649552"/>
                    <a:pt x="338653" y="649552"/>
                  </a:cubicBezTo>
                  <a:cubicBezTo>
                    <a:pt x="410993" y="649552"/>
                    <a:pt x="458704" y="611037"/>
                    <a:pt x="458704" y="561802"/>
                  </a:cubicBezTo>
                  <a:cubicBezTo>
                    <a:pt x="458704" y="415575"/>
                    <a:pt x="35398" y="511026"/>
                    <a:pt x="35398" y="217029"/>
                  </a:cubicBezTo>
                  <a:cubicBezTo>
                    <a:pt x="35398" y="95451"/>
                    <a:pt x="141630" y="0"/>
                    <a:pt x="310937" y="0"/>
                  </a:cubicBezTo>
                  <a:cubicBezTo>
                    <a:pt x="461752" y="0"/>
                    <a:pt x="589524" y="76965"/>
                    <a:pt x="623417" y="189361"/>
                  </a:cubicBezTo>
                  <a:lnTo>
                    <a:pt x="466385" y="255543"/>
                  </a:lnTo>
                  <a:cubicBezTo>
                    <a:pt x="444845" y="181659"/>
                    <a:pt x="377099" y="143206"/>
                    <a:pt x="313985" y="143206"/>
                  </a:cubicBezTo>
                  <a:cubicBezTo>
                    <a:pt x="250911" y="143206"/>
                    <a:pt x="210840" y="169394"/>
                    <a:pt x="210840" y="214009"/>
                  </a:cubicBezTo>
                  <a:cubicBezTo>
                    <a:pt x="210840" y="350994"/>
                    <a:pt x="637195" y="241738"/>
                    <a:pt x="637195" y="558783"/>
                  </a:cubicBezTo>
                  <a:cubicBezTo>
                    <a:pt x="637195" y="692683"/>
                    <a:pt x="517185" y="800460"/>
                    <a:pt x="338572" y="800460"/>
                  </a:cubicBezTo>
                  <a:cubicBezTo>
                    <a:pt x="150815" y="800460"/>
                    <a:pt x="38445" y="685043"/>
                    <a:pt x="0" y="571105"/>
                  </a:cubicBezTo>
                  <a:lnTo>
                    <a:pt x="0" y="571044"/>
                  </a:lnTo>
                  <a:close/>
                </a:path>
              </a:pathLst>
            </a:custGeom>
            <a:grpFill/>
            <a:ln w="40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80932" y="5488398"/>
            <a:ext cx="8230136" cy="371192"/>
          </a:xfrm>
        </p:spPr>
        <p:txBody>
          <a:bodyPr lIns="0" tIns="0" rIns="0" bIns="0" anchor="t"/>
          <a:lstStyle>
            <a:lvl1pPr algn="ctr">
              <a:lnSpc>
                <a:spcPts val="3100"/>
              </a:lnSpc>
              <a:defRPr sz="25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40105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2CE11380-6D94-BBB1-1C5C-627DE7048F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7906" y="0"/>
            <a:ext cx="5004094" cy="5537200"/>
          </a:xfrm>
          <a:custGeom>
            <a:avLst/>
            <a:gdLst>
              <a:gd name="connsiteX0" fmla="*/ 3057220 w 10007536"/>
              <a:gd name="connsiteY0" fmla="*/ 0 h 11074400"/>
              <a:gd name="connsiteX1" fmla="*/ 10007536 w 10007536"/>
              <a:gd name="connsiteY1" fmla="*/ 0 h 11074400"/>
              <a:gd name="connsiteX2" fmla="*/ 10007536 w 10007536"/>
              <a:gd name="connsiteY2" fmla="*/ 11074400 h 11074400"/>
              <a:gd name="connsiteX3" fmla="*/ 0 w 10007536"/>
              <a:gd name="connsiteY3" fmla="*/ 11074400 h 110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7536" h="11074400">
                <a:moveTo>
                  <a:pt x="3057220" y="0"/>
                </a:moveTo>
                <a:lnTo>
                  <a:pt x="10007536" y="0"/>
                </a:lnTo>
                <a:lnTo>
                  <a:pt x="10007536" y="11074400"/>
                </a:lnTo>
                <a:lnTo>
                  <a:pt x="0" y="11074400"/>
                </a:lnTo>
                <a:close/>
              </a:path>
            </a:pathLst>
          </a:custGeom>
        </p:spPr>
        <p:txBody>
          <a:bodyPr wrap="square" tIns="1462174">
            <a:noAutofit/>
          </a:bodyPr>
          <a:lstStyle>
            <a:lvl1pPr marL="228589" indent="-228589" algn="ctr" defTabSz="914355" rtl="0" eaLnBrk="1" latinLnBrk="0" hangingPunct="1">
              <a:lnSpc>
                <a:spcPts val="1900"/>
              </a:lnSpc>
              <a:spcBef>
                <a:spcPts val="1900"/>
              </a:spcBef>
              <a:buFont typeface="Arial" panose="020B0604020202020204" pitchFamily="34" charset="0"/>
              <a:buNone/>
              <a:defRPr sz="1500"/>
            </a:lvl1pPr>
          </a:lstStyle>
          <a:p>
            <a:endParaRPr lang="nb-NO"/>
          </a:p>
        </p:txBody>
      </p:sp>
      <p:sp>
        <p:nvSpPr>
          <p:cNvPr id="14" name="Frihåndsform: figur 13">
            <a:extLst>
              <a:ext uri="{FF2B5EF4-FFF2-40B4-BE49-F238E27FC236}">
                <a16:creationId xmlns:a16="http://schemas.microsoft.com/office/drawing/2014/main" id="{4F3113FC-D55B-C785-66A9-D057D6E2F494}"/>
              </a:ext>
            </a:extLst>
          </p:cNvPr>
          <p:cNvSpPr/>
          <p:nvPr/>
        </p:nvSpPr>
        <p:spPr>
          <a:xfrm>
            <a:off x="0" y="5537200"/>
            <a:ext cx="7188668" cy="1320800"/>
          </a:xfrm>
          <a:custGeom>
            <a:avLst/>
            <a:gdLst>
              <a:gd name="connsiteX0" fmla="*/ 0 w 14376400"/>
              <a:gd name="connsiteY0" fmla="*/ 0 h 2641600"/>
              <a:gd name="connsiteX1" fmla="*/ 14376400 w 14376400"/>
              <a:gd name="connsiteY1" fmla="*/ 0 h 2641600"/>
              <a:gd name="connsiteX2" fmla="*/ 13675768 w 14376400"/>
              <a:gd name="connsiteY2" fmla="*/ 2641600 h 2641600"/>
              <a:gd name="connsiteX3" fmla="*/ 0 w 14376400"/>
              <a:gd name="connsiteY3" fmla="*/ 2641600 h 264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76400" h="2641600">
                <a:moveTo>
                  <a:pt x="0" y="0"/>
                </a:moveTo>
                <a:lnTo>
                  <a:pt x="14376400" y="0"/>
                </a:lnTo>
                <a:lnTo>
                  <a:pt x="13675768" y="2641600"/>
                </a:lnTo>
                <a:lnTo>
                  <a:pt x="0" y="2641600"/>
                </a:lnTo>
                <a:close/>
              </a:path>
            </a:pathLst>
          </a:custGeom>
          <a:solidFill>
            <a:srgbClr val="F6FF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CF8CE0-6A0D-CF41-08E8-8BAFE7DDC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931" y="399116"/>
            <a:ext cx="7226770" cy="1410643"/>
          </a:xfrm>
        </p:spPr>
        <p:txBody>
          <a:bodyPr lIns="0" tIns="0" rIns="0" bIns="0" anchor="t"/>
          <a:lstStyle>
            <a:lvl1pPr algn="l">
              <a:lnSpc>
                <a:spcPts val="550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71A5CB9-9054-D3E6-1520-E34139BF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6122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15E0C6-364D-0069-E52F-732854CEA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6122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74785E7-F4FB-BD23-E434-6902DB73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6122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7CCDF8D-689D-2224-3F92-DDD29A696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28453" y="6004306"/>
            <a:ext cx="3694734" cy="370933"/>
          </a:xfrm>
          <a:prstGeom prst="rect">
            <a:avLst/>
          </a:prstGeom>
        </p:spPr>
      </p:pic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EB09DC05-FE3F-4947-7FBF-EB1E98B4AA36}"/>
              </a:ext>
            </a:extLst>
          </p:cNvPr>
          <p:cNvSpPr/>
          <p:nvPr/>
        </p:nvSpPr>
        <p:spPr>
          <a:xfrm>
            <a:off x="7554830" y="527797"/>
            <a:ext cx="4038111" cy="4662488"/>
          </a:xfrm>
          <a:custGeom>
            <a:avLst/>
            <a:gdLst>
              <a:gd name="connsiteX0" fmla="*/ 8075697 w 8075696"/>
              <a:gd name="connsiteY0" fmla="*/ 0 h 9324975"/>
              <a:gd name="connsiteX1" fmla="*/ 2574276 w 8075696"/>
              <a:gd name="connsiteY1" fmla="*/ 0 h 9324975"/>
              <a:gd name="connsiteX2" fmla="*/ 0 w 8075696"/>
              <a:gd name="connsiteY2" fmla="*/ 9324975 h 9324975"/>
              <a:gd name="connsiteX3" fmla="*/ 8075697 w 8075696"/>
              <a:gd name="connsiteY3" fmla="*/ 9324975 h 9324975"/>
              <a:gd name="connsiteX4" fmla="*/ 8075697 w 8075696"/>
              <a:gd name="connsiteY4" fmla="*/ 0 h 932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5696" h="9324975">
                <a:moveTo>
                  <a:pt x="8075697" y="0"/>
                </a:moveTo>
                <a:lnTo>
                  <a:pt x="2574276" y="0"/>
                </a:lnTo>
                <a:lnTo>
                  <a:pt x="0" y="9324975"/>
                </a:lnTo>
                <a:lnTo>
                  <a:pt x="8075697" y="9324975"/>
                </a:lnTo>
                <a:lnTo>
                  <a:pt x="8075697" y="0"/>
                </a:lnTo>
                <a:close/>
              </a:path>
            </a:pathLst>
          </a:custGeom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19" name="Frihåndsform: figur 18">
            <a:extLst>
              <a:ext uri="{FF2B5EF4-FFF2-40B4-BE49-F238E27FC236}">
                <a16:creationId xmlns:a16="http://schemas.microsoft.com/office/drawing/2014/main" id="{4EB1DD82-6345-EFFD-F845-0FFD5D524B12}"/>
              </a:ext>
            </a:extLst>
          </p:cNvPr>
          <p:cNvSpPr/>
          <p:nvPr/>
        </p:nvSpPr>
        <p:spPr>
          <a:xfrm>
            <a:off x="7554830" y="527797"/>
            <a:ext cx="4038111" cy="4662488"/>
          </a:xfrm>
          <a:custGeom>
            <a:avLst/>
            <a:gdLst>
              <a:gd name="connsiteX0" fmla="*/ 8075697 w 8075696"/>
              <a:gd name="connsiteY0" fmla="*/ 0 h 9324975"/>
              <a:gd name="connsiteX1" fmla="*/ 2574276 w 8075696"/>
              <a:gd name="connsiteY1" fmla="*/ 0 h 9324975"/>
              <a:gd name="connsiteX2" fmla="*/ 0 w 8075696"/>
              <a:gd name="connsiteY2" fmla="*/ 9324975 h 9324975"/>
              <a:gd name="connsiteX3" fmla="*/ 8075697 w 8075696"/>
              <a:gd name="connsiteY3" fmla="*/ 9324975 h 9324975"/>
              <a:gd name="connsiteX4" fmla="*/ 8075697 w 8075696"/>
              <a:gd name="connsiteY4" fmla="*/ 0 h 932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5696" h="9324975">
                <a:moveTo>
                  <a:pt x="8075697" y="0"/>
                </a:moveTo>
                <a:lnTo>
                  <a:pt x="2574276" y="0"/>
                </a:lnTo>
                <a:lnTo>
                  <a:pt x="0" y="9324975"/>
                </a:lnTo>
                <a:lnTo>
                  <a:pt x="8075697" y="9324975"/>
                </a:lnTo>
                <a:lnTo>
                  <a:pt x="8075697" y="0"/>
                </a:lnTo>
                <a:close/>
              </a:path>
            </a:pathLst>
          </a:custGeom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11" name="Undertittel 2">
            <a:extLst>
              <a:ext uri="{FF2B5EF4-FFF2-40B4-BE49-F238E27FC236}">
                <a16:creationId xmlns:a16="http://schemas.microsoft.com/office/drawing/2014/main" id="{EA811BFE-EF6B-4388-B789-2CE211AFD7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9931" y="1341484"/>
            <a:ext cx="7226770" cy="371192"/>
          </a:xfrm>
        </p:spPr>
        <p:txBody>
          <a:bodyPr>
            <a:spAutoFit/>
          </a:bodyPr>
          <a:lstStyle>
            <a:lvl1pPr marL="0" indent="0" algn="l">
              <a:lnSpc>
                <a:spcPts val="3100"/>
              </a:lnSpc>
              <a:spcBef>
                <a:spcPts val="0"/>
              </a:spcBef>
              <a:buNone/>
              <a:defRPr sz="2500">
                <a:solidFill>
                  <a:schemeClr val="accent5"/>
                </a:solidFill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327030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73D054-542E-9DA5-534F-C171C30F1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63951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FB51878F-024E-9F82-F81C-BC73F2A3D58F}"/>
              </a:ext>
            </a:extLst>
          </p:cNvPr>
          <p:cNvSpPr/>
          <p:nvPr/>
        </p:nvSpPr>
        <p:spPr>
          <a:xfrm>
            <a:off x="7966378" y="1"/>
            <a:ext cx="4226416" cy="6858000"/>
          </a:xfrm>
          <a:custGeom>
            <a:avLst/>
            <a:gdLst>
              <a:gd name="connsiteX0" fmla="*/ 3711981 w 8452281"/>
              <a:gd name="connsiteY0" fmla="*/ 0 h 13715999"/>
              <a:gd name="connsiteX1" fmla="*/ 8452281 w 8452281"/>
              <a:gd name="connsiteY1" fmla="*/ 0 h 13715999"/>
              <a:gd name="connsiteX2" fmla="*/ 8452281 w 8452281"/>
              <a:gd name="connsiteY2" fmla="*/ 13715999 h 13715999"/>
              <a:gd name="connsiteX3" fmla="*/ 0 w 8452281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52281" h="13715999">
                <a:moveTo>
                  <a:pt x="3711981" y="0"/>
                </a:moveTo>
                <a:lnTo>
                  <a:pt x="8452281" y="0"/>
                </a:lnTo>
                <a:lnTo>
                  <a:pt x="8452281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F6FF7D"/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AC8B36A-6D73-D7B2-DD53-B6BC78C29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2" y="2037408"/>
            <a:ext cx="7226770" cy="1410643"/>
          </a:xfrm>
        </p:spPr>
        <p:txBody>
          <a:bodyPr lIns="0" tIns="0" rIns="0" bIns="0" anchor="b">
            <a:spAutoFit/>
          </a:bodyPr>
          <a:lstStyle>
            <a:lvl1pPr>
              <a:lnSpc>
                <a:spcPts val="5500"/>
              </a:lnSpc>
              <a:defRPr sz="5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1541C58-822B-5751-0208-D9D58A3F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8580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74F5C6A-6E45-EDF0-BFF9-1DA4B5F8E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8580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8D2BFF-9BB9-A83C-AB7D-12F87D9A9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8580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0E841E77-5A86-FDD6-3534-FFFCAA1C2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3660007"/>
            <a:ext cx="7226770" cy="37119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ts val="31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EB21C84-2E89-AECF-FA72-B39BA9B5CB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16056" y="307207"/>
            <a:ext cx="2451260" cy="18658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125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050618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AC8B36A-6D73-D7B2-DD53-B6BC78C29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2" y="1973288"/>
            <a:ext cx="7226770" cy="1474763"/>
          </a:xfrm>
        </p:spPr>
        <p:txBody>
          <a:bodyPr lIns="0" tIns="0" rIns="0" bIns="0" anchor="b">
            <a:spAutoFit/>
          </a:bodyPr>
          <a:lstStyle>
            <a:lvl1pPr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1541C58-822B-5751-0208-D9D58A3F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8580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74F5C6A-6E45-EDF0-BFF9-1DA4B5F8E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8580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8D2BFF-9BB9-A83C-AB7D-12F87D9A9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8580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0E841E77-5A86-FDD6-3534-FFFCAA1C2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3660007"/>
            <a:ext cx="7226770" cy="39607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EB21C84-2E89-AECF-FA72-B39BA9B5CB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63494" y="307207"/>
            <a:ext cx="3403822" cy="18658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125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09625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FB51878F-024E-9F82-F81C-BC73F2A3D58F}"/>
              </a:ext>
            </a:extLst>
          </p:cNvPr>
          <p:cNvSpPr/>
          <p:nvPr/>
        </p:nvSpPr>
        <p:spPr>
          <a:xfrm>
            <a:off x="7966378" y="1"/>
            <a:ext cx="4226416" cy="6858000"/>
          </a:xfrm>
          <a:custGeom>
            <a:avLst/>
            <a:gdLst>
              <a:gd name="connsiteX0" fmla="*/ 3711981 w 8452281"/>
              <a:gd name="connsiteY0" fmla="*/ 0 h 13715999"/>
              <a:gd name="connsiteX1" fmla="*/ 8452281 w 8452281"/>
              <a:gd name="connsiteY1" fmla="*/ 0 h 13715999"/>
              <a:gd name="connsiteX2" fmla="*/ 8452281 w 8452281"/>
              <a:gd name="connsiteY2" fmla="*/ 13715999 h 13715999"/>
              <a:gd name="connsiteX3" fmla="*/ 0 w 8452281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52281" h="13715999">
                <a:moveTo>
                  <a:pt x="3711981" y="0"/>
                </a:moveTo>
                <a:lnTo>
                  <a:pt x="8452281" y="0"/>
                </a:lnTo>
                <a:lnTo>
                  <a:pt x="8452281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F6FF7D"/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AC8B36A-6D73-D7B2-DD53-B6BC78C29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2" y="1973288"/>
            <a:ext cx="7226770" cy="1474763"/>
          </a:xfrm>
        </p:spPr>
        <p:txBody>
          <a:bodyPr lIns="0" tIns="0" rIns="0" bIns="0" anchor="b">
            <a:spAutoFit/>
          </a:bodyPr>
          <a:lstStyle>
            <a:lvl1pPr>
              <a:lnSpc>
                <a:spcPts val="5750"/>
              </a:lnSpc>
              <a:defRPr sz="5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1541C58-822B-5751-0208-D9D58A3F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40090" y="7018580"/>
            <a:ext cx="274320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74F5C6A-6E45-EDF0-BFF9-1DA4B5F8E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1246" y="7018580"/>
            <a:ext cx="130501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8D2BFF-9BB9-A83C-AB7D-12F87D9A9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7018580"/>
            <a:ext cx="36753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0E841E77-5A86-FDD6-3534-FFFCAA1C2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2" y="3660007"/>
            <a:ext cx="7226770" cy="39607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2EB21C84-2E89-AECF-FA72-B39BA9B5CB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16056" y="307207"/>
            <a:ext cx="2451260" cy="18658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125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575194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944E39-DA8C-DDC0-2272-67C9AA54B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834B8EC-6585-7933-FA20-BDB65F3BB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93B292C-E5C7-B1F9-2598-07897ABD4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6950962-3F3B-D328-12D9-E87A18FDF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66821475-FC61-EDDB-6C3E-3C149BA9AA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31" y="2521527"/>
            <a:ext cx="4864417" cy="3655436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18F05D52-4101-FD95-F68F-B10C488DD5C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772525" y="2521527"/>
            <a:ext cx="4864417" cy="3655436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854227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151806-F71B-63AE-BF51-FF0098CD5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592708"/>
            <a:ext cx="3441924" cy="220093"/>
          </a:xfrm>
        </p:spPr>
        <p:txBody>
          <a:bodyPr lIns="0" tIns="0" rIns="0" bIns="0"/>
          <a:lstStyle>
            <a:lvl1pPr>
              <a:lnSpc>
                <a:spcPts val="1900"/>
              </a:lnSpc>
              <a:defRPr sz="1500">
                <a:latin typeface="+mn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B42FE6-C101-A4B2-05B9-DEDF499AF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A30B2FF-BEE1-408A-B523-AFE737833983}" type="datetimeFigureOut">
              <a:rPr lang="nb-NO" smtClean="0"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790E72-0297-ABE5-CF80-D81E31247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D6DC6B-301E-2B8D-CB09-352C3F344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B88B50DE-A9AF-479C-8579-7B31015DA7D9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C93C86A-D0C7-CAC6-69AF-DF820F629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631" y="940377"/>
            <a:ext cx="10154311" cy="365543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325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500" b="0" i="0" u="none" cap="none">
                <a:solidFill>
                  <a:srgbClr val="002730"/>
                </a:solidFill>
                <a:latin typeface="+mj-lt"/>
              </a:defRPr>
            </a:lvl1pPr>
            <a:lvl2pPr marL="685766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2pPr>
            <a:lvl3pPr marL="1142943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3pPr>
            <a:lvl4pPr marL="1600120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4pPr>
            <a:lvl5pPr marL="2057297" indent="-228589" algn="l">
              <a:lnSpc>
                <a:spcPts val="19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500" b="0" i="0" u="none" cap="none">
                <a:solidFill>
                  <a:srgbClr val="00273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48449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6.svg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9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3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7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E586180-0090-865C-B24A-80F316F5D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6"/>
            <a:ext cx="10154311" cy="6068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A33589-C093-ADEF-C5A3-8058092CC6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31" y="2521527"/>
            <a:ext cx="10154311" cy="36554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810430-7BD4-25F6-86D6-1773C2F72E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22721" y="6423625"/>
            <a:ext cx="2743200" cy="13850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tx2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7C52C4-3672-9B06-3DCF-ED926E2D4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878" y="6423625"/>
            <a:ext cx="130501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0CB42A-233A-17FA-B6E5-9ABCC1347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2632" y="6423625"/>
            <a:ext cx="36753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tx2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EE46F3D5-BF6F-DB98-842D-0079DF42908C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122559" y="6381750"/>
            <a:ext cx="1577767" cy="1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922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  <p:sldLayoutId id="2147483661" r:id="rId3"/>
    <p:sldLayoutId id="2147483709" r:id="rId4"/>
    <p:sldLayoutId id="2147483650" r:id="rId5"/>
    <p:sldLayoutId id="2147483651" r:id="rId6"/>
    <p:sldLayoutId id="2147483665" r:id="rId7"/>
    <p:sldLayoutId id="2147483652" r:id="rId8"/>
    <p:sldLayoutId id="2147483663" r:id="rId9"/>
    <p:sldLayoutId id="2147483664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5" r:id="rId18"/>
    <p:sldLayoutId id="2147483676" r:id="rId19"/>
    <p:sldLayoutId id="2147483654" r:id="rId20"/>
    <p:sldLayoutId id="2147483655" r:id="rId21"/>
    <p:sldLayoutId id="2147483673" r:id="rId22"/>
    <p:sldLayoutId id="2147483674" r:id="rId23"/>
  </p:sldLayoutIdLst>
  <p:txStyles>
    <p:titleStyle>
      <a:lvl1pPr algn="l" defTabSz="914355" rtl="0" eaLnBrk="1" latinLnBrk="0" hangingPunct="1">
        <a:lnSpc>
          <a:spcPts val="5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5" rtl="0" eaLnBrk="1" latinLnBrk="0" hangingPunct="1">
        <a:lnSpc>
          <a:spcPts val="1900"/>
        </a:lnSpc>
        <a:spcBef>
          <a:spcPts val="19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66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1142943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20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297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E586180-0090-865C-B24A-80F316F5D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6"/>
            <a:ext cx="10154311" cy="6068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A33589-C093-ADEF-C5A3-8058092CC6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31" y="2521527"/>
            <a:ext cx="10154311" cy="36554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810430-7BD4-25F6-86D6-1773C2F72E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22721" y="6423625"/>
            <a:ext cx="2743200" cy="13850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7C52C4-3672-9B06-3DCF-ED926E2D4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878" y="6423625"/>
            <a:ext cx="130501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0CB42A-233A-17FA-B6E5-9ABCC1347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2632" y="6423625"/>
            <a:ext cx="36753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EE46F3D5-BF6F-DB98-842D-0079DF42908C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122559" y="6381750"/>
            <a:ext cx="1577767" cy="1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93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</p:sldLayoutIdLst>
  <p:txStyles>
    <p:titleStyle>
      <a:lvl1pPr algn="l" defTabSz="914355" rtl="0" eaLnBrk="1" latinLnBrk="0" hangingPunct="1">
        <a:lnSpc>
          <a:spcPts val="5000"/>
        </a:lnSpc>
        <a:spcBef>
          <a:spcPct val="0"/>
        </a:spcBef>
        <a:buNone/>
        <a:defRPr sz="4000" kern="1200">
          <a:solidFill>
            <a:schemeClr val="lt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5" rtl="0" eaLnBrk="1" latinLnBrk="0" hangingPunct="1">
        <a:lnSpc>
          <a:spcPts val="1900"/>
        </a:lnSpc>
        <a:spcBef>
          <a:spcPts val="19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1pPr>
      <a:lvl2pPr marL="685766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2pPr>
      <a:lvl3pPr marL="1142943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3pPr>
      <a:lvl4pPr marL="1600120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4pPr>
      <a:lvl5pPr marL="2057297" indent="-228589" algn="l" defTabSz="914355" rtl="0" eaLnBrk="1" latinLnBrk="0" hangingPunct="1">
        <a:lnSpc>
          <a:spcPts val="19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EBE80EC-8BD5-2300-847C-F9690E0F8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66641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34" imgH="328" progId="TCLayout.ActiveDocument.1">
                  <p:embed/>
                </p:oleObj>
              </mc:Choice>
              <mc:Fallback>
                <p:oleObj name="think-cell Slide" r:id="rId8" imgW="334" imgH="32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E80EC-8BD5-2300-847C-F9690E0F81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3F3CDB-D6DB-7959-016E-65B210DF7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529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C5DD79-EA4E-35B3-3680-119D461960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94816"/>
            <a:ext cx="10515600" cy="49821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0A2436-4056-079C-2565-8B5274BFD5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7424" y="6356350"/>
            <a:ext cx="814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F33DF-C53D-B690-25DC-58D264BAA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5029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1B55F9B-D0C8-4D9F-8D86-BFD0D0FECA5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k 9">
            <a:extLst>
              <a:ext uri="{FF2B5EF4-FFF2-40B4-BE49-F238E27FC236}">
                <a16:creationId xmlns:a16="http://schemas.microsoft.com/office/drawing/2014/main" id="{9BBBC43F-3BFC-D75A-2324-52FA35690E2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76033" y="6459712"/>
            <a:ext cx="1577767" cy="1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69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0375" indent="-230188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60375" indent="2238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8838" indent="-230188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E586180-0090-865C-B24A-80F316F5D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6"/>
            <a:ext cx="10154311" cy="61555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A33589-C093-ADEF-C5A3-8058092CC6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31" y="2521527"/>
            <a:ext cx="10154311" cy="36554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810430-7BD4-25F6-86D6-1773C2F72E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22721" y="6423625"/>
            <a:ext cx="2743200" cy="13850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lt1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7C52C4-3672-9B06-3DCF-ED926E2D4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878" y="6423625"/>
            <a:ext cx="130501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0CB42A-233A-17FA-B6E5-9ABCC1347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2632" y="6423625"/>
            <a:ext cx="36753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lt1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EE46F3D5-BF6F-DB98-842D-0079DF4290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22559" y="6381750"/>
            <a:ext cx="1577767" cy="1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878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79" r:id="rId1"/>
    <p:sldLayoutId id="2147484580" r:id="rId2"/>
  </p:sldLayoutIdLst>
  <p:txStyles>
    <p:titleStyle>
      <a:lvl1pPr algn="l" defTabSz="914355" rtl="0" eaLnBrk="1" latinLnBrk="0" hangingPunct="1">
        <a:lnSpc>
          <a:spcPct val="100000"/>
        </a:lnSpc>
        <a:spcBef>
          <a:spcPct val="0"/>
        </a:spcBef>
        <a:buNone/>
        <a:defRPr sz="4000" kern="1200">
          <a:solidFill>
            <a:schemeClr val="lt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5" rtl="0" eaLnBrk="1" latinLnBrk="0" hangingPunct="1">
        <a:lnSpc>
          <a:spcPts val="2000"/>
        </a:lnSpc>
        <a:spcBef>
          <a:spcPts val="19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1pPr>
      <a:lvl2pPr marL="685766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2pPr>
      <a:lvl3pPr marL="1142943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3pPr>
      <a:lvl4pPr marL="1600120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4pPr>
      <a:lvl5pPr marL="2057297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lt1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E586180-0090-865C-B24A-80F316F5D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31" y="365126"/>
            <a:ext cx="10154311" cy="6068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A33589-C093-ADEF-C5A3-8058092CC6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31" y="2521527"/>
            <a:ext cx="10154311" cy="36554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810430-7BD4-25F6-86D6-1773C2F72E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22721" y="6423625"/>
            <a:ext cx="2743200" cy="13850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tx2"/>
                </a:solidFill>
              </a:defRPr>
            </a:lvl1pPr>
          </a:lstStyle>
          <a:p>
            <a:fld id="{8A30B2FF-BEE1-408A-B523-AFE737833983}" type="datetimeFigureOut">
              <a:rPr lang="nb-NO" smtClean="0"/>
              <a:pPr/>
              <a:t>03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7C52C4-3672-9B06-3DCF-ED926E2D4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878" y="6423625"/>
            <a:ext cx="130501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0CB42A-233A-17FA-B6E5-9ABCC1347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2632" y="6423625"/>
            <a:ext cx="36753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spc="-25" baseline="0">
                <a:solidFill>
                  <a:schemeClr val="tx2"/>
                </a:solidFill>
              </a:defRPr>
            </a:lvl1pPr>
          </a:lstStyle>
          <a:p>
            <a:fld id="{B88B50DE-A9AF-479C-8579-7B31015DA7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EE46F3D5-BF6F-DB98-842D-0079DF4290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22559" y="6381750"/>
            <a:ext cx="1577767" cy="1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251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2" r:id="rId1"/>
    <p:sldLayoutId id="2147484583" r:id="rId2"/>
  </p:sldLayoutIdLst>
  <p:txStyles>
    <p:titleStyle>
      <a:lvl1pPr algn="l" defTabSz="914355" rtl="0" eaLnBrk="1" latinLnBrk="0" hangingPunct="1">
        <a:lnSpc>
          <a:spcPts val="5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5" rtl="0" eaLnBrk="1" latinLnBrk="0" hangingPunct="1">
        <a:lnSpc>
          <a:spcPts val="2000"/>
        </a:lnSpc>
        <a:spcBef>
          <a:spcPts val="19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66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1142943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20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297" indent="-228589" algn="l" defTabSz="914355" rtl="0" eaLnBrk="1" latinLnBrk="0" hangingPunct="1">
        <a:lnSpc>
          <a:spcPts val="2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10C3DD2-0D80-3377-AFA9-1AA54FD6E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902" y="348343"/>
            <a:ext cx="7713306" cy="1663181"/>
          </a:xfrm>
        </p:spPr>
        <p:txBody>
          <a:bodyPr anchor="b">
            <a:normAutofit fontScale="90000"/>
          </a:bodyPr>
          <a:lstStyle/>
          <a:p>
            <a:pPr algn="ctr"/>
            <a:br>
              <a:rPr lang="nb-NO" sz="4700">
                <a:latin typeface="Arial"/>
                <a:cs typeface="Arial"/>
              </a:rPr>
            </a:br>
            <a:r>
              <a:rPr lang="nb-NO" sz="4700">
                <a:latin typeface="Arial"/>
                <a:cs typeface="Arial"/>
              </a:rPr>
              <a:t>Presentasjon drift i Lunner, Gran og Jevnaker</a:t>
            </a:r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30CDE27E-32A1-49BF-25A2-0253FABC57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02" y="2438821"/>
            <a:ext cx="7713306" cy="165576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endParaRPr lang="nb-NO" sz="2000"/>
          </a:p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endParaRPr lang="nb-NO" sz="200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6FC4C9F5-9B3B-13C0-5DFD-0EC8ABEB60B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t="16180" r="-1" b="-1"/>
          <a:stretch>
            <a:fillRect/>
          </a:stretch>
        </p:blipFill>
        <p:spPr>
          <a:xfrm>
            <a:off x="7187906" y="70338"/>
            <a:ext cx="5004094" cy="5537190"/>
          </a:xfrm>
          <a:custGeom>
            <a:avLst/>
            <a:gdLst>
              <a:gd name="connsiteX0" fmla="*/ 3057220 w 10007536"/>
              <a:gd name="connsiteY0" fmla="*/ 0 h 11074400"/>
              <a:gd name="connsiteX1" fmla="*/ 10007536 w 10007536"/>
              <a:gd name="connsiteY1" fmla="*/ 0 h 11074400"/>
              <a:gd name="connsiteX2" fmla="*/ 10007536 w 10007536"/>
              <a:gd name="connsiteY2" fmla="*/ 11074400 h 11074400"/>
              <a:gd name="connsiteX3" fmla="*/ 0 w 10007536"/>
              <a:gd name="connsiteY3" fmla="*/ 11074400 h 110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7536" h="11074400">
                <a:moveTo>
                  <a:pt x="3057220" y="0"/>
                </a:moveTo>
                <a:lnTo>
                  <a:pt x="10007536" y="0"/>
                </a:lnTo>
                <a:lnTo>
                  <a:pt x="10007536" y="11074400"/>
                </a:lnTo>
                <a:lnTo>
                  <a:pt x="0" y="11074400"/>
                </a:lnTo>
                <a:close/>
              </a:path>
            </a:pathLst>
          </a:custGeom>
          <a:noFill/>
        </p:spPr>
      </p:pic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3AC1F6A8-5DDE-BC90-B5E9-3944AC421D7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356350"/>
            <a:ext cx="50292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F1B55F9B-D0C8-4D9F-8D86-BFD0D0FECA55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722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666A3-C7BB-85FA-F89E-E73F8DB006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03AFDE46-56F0-ABAC-9FC6-FE7B02B7BC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02" y="2438821"/>
            <a:ext cx="7713306" cy="165576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endParaRPr lang="nb-NO" sz="2000"/>
          </a:p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endParaRPr lang="nb-NO" sz="200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F4749C23-F0FB-13CC-A75C-C08394832E3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356350"/>
            <a:ext cx="50292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F1B55F9B-D0C8-4D9F-8D86-BFD0D0FECA55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graphicFrame>
        <p:nvGraphicFramePr>
          <p:cNvPr id="6" name="Plassholder for innhold 6">
            <a:extLst>
              <a:ext uri="{FF2B5EF4-FFF2-40B4-BE49-F238E27FC236}">
                <a16:creationId xmlns:a16="http://schemas.microsoft.com/office/drawing/2014/main" id="{6025FAC3-1686-5C5B-294B-5DB61BF767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09624"/>
              </p:ext>
            </p:extLst>
          </p:nvPr>
        </p:nvGraphicFramePr>
        <p:xfrm>
          <a:off x="838200" y="-331343"/>
          <a:ext cx="5976938" cy="66629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kstSylinder 12">
            <a:extLst>
              <a:ext uri="{FF2B5EF4-FFF2-40B4-BE49-F238E27FC236}">
                <a16:creationId xmlns:a16="http://schemas.microsoft.com/office/drawing/2014/main" id="{5D1CC070-C9DB-F657-56C6-EE27717A6431}"/>
              </a:ext>
            </a:extLst>
          </p:cNvPr>
          <p:cNvSpPr txBox="1"/>
          <p:nvPr/>
        </p:nvSpPr>
        <p:spPr>
          <a:xfrm>
            <a:off x="7715250" y="706438"/>
            <a:ext cx="6096000" cy="48013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rtl="0"/>
            <a:r>
              <a:rPr lang="nb-NO" b="1" u="sng" baseline="0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S</a:t>
            </a:r>
            <a:r>
              <a:rPr lang="nb-NO" b="1" u="sng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koler</a:t>
            </a:r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: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Harestua Barne og Undom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Grua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Lunner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Lunner Ungdom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Trintom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Hadeland Videregåend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Gran ungdom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Jaren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Fredheim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Brandbu Barne og ungdom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Toso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Bergerbakken barne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Jevnaker ungdom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Åsbygda 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rtl="0"/>
            <a:r>
              <a:rPr lang="nb-NO" b="1" baseline="0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Bjorneroa skole</a:t>
            </a:r>
            <a:r>
              <a:rPr lang="nb-NO" noProof="1">
                <a:solidFill>
                  <a:schemeClr val="bg1"/>
                </a:solidFill>
                <a:latin typeface="Arial"/>
                <a:ea typeface="Segoe UI"/>
                <a:cs typeface="Segoe UI"/>
              </a:rPr>
              <a:t>​</a:t>
            </a:r>
          </a:p>
          <a:p>
            <a:pPr algn="ctr"/>
            <a:endParaRPr lang="nb-NO">
              <a:solidFill>
                <a:schemeClr val="bg1"/>
              </a:solidFill>
              <a:cs typeface="Arial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95317D6-3C3A-8ECA-6D57-327A867BCAF8}"/>
              </a:ext>
            </a:extLst>
          </p:cNvPr>
          <p:cNvSpPr txBox="1"/>
          <p:nvPr/>
        </p:nvSpPr>
        <p:spPr>
          <a:xfrm>
            <a:off x="1897763" y="236561"/>
            <a:ext cx="2743200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2400">
                <a:solidFill>
                  <a:schemeClr val="bg1"/>
                </a:solidFill>
                <a:cs typeface="Arial"/>
              </a:rPr>
              <a:t>Litt om området:</a:t>
            </a:r>
            <a:endParaRPr lang="nb-NO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9879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98E1F-3D04-71AF-1F6C-0C0DBB21F9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3312EF2A-5082-DC78-A65A-45868CAA83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02" y="2438821"/>
            <a:ext cx="7713306" cy="165576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endParaRPr lang="nb-NO" sz="2000"/>
          </a:p>
          <a:p>
            <a:pPr>
              <a:lnSpc>
                <a:spcPct val="90000"/>
              </a:lnSpc>
            </a:pPr>
            <a:r>
              <a:rPr lang="nb-NO" sz="2000"/>
              <a:t>	</a:t>
            </a:r>
          </a:p>
          <a:p>
            <a:pPr>
              <a:lnSpc>
                <a:spcPct val="90000"/>
              </a:lnSpc>
            </a:pPr>
            <a:endParaRPr lang="nb-NO" sz="200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F706BD5C-3131-EDE1-FE86-36AEF606C9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356350"/>
            <a:ext cx="50292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F1B55F9B-D0C8-4D9F-8D86-BFD0D0FECA55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6048E77-B5B1-C4F3-1072-B6A9D6403091}"/>
              </a:ext>
            </a:extLst>
          </p:cNvPr>
          <p:cNvSpPr txBox="1"/>
          <p:nvPr/>
        </p:nvSpPr>
        <p:spPr>
          <a:xfrm>
            <a:off x="473382" y="299866"/>
            <a:ext cx="8088312" cy="49859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Antall sjåfører :47</a:t>
            </a: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Endel som har lavere % noe som </a:t>
            </a: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vanskeliggjør rekruttering.</a:t>
            </a:r>
          </a:p>
          <a:p>
            <a:endParaRPr lang="en-US" sz="2400" noProof="1">
              <a:solidFill>
                <a:schemeClr val="bg1"/>
              </a:solidFill>
              <a:latin typeface="Aptos"/>
              <a:ea typeface="Aptos"/>
              <a:cs typeface="Aptos"/>
            </a:endParaRP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Stor overvekt av sjåfører i </a:t>
            </a: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alderen 50+</a:t>
            </a:r>
            <a:endParaRPr lang="en-US" sz="2400" dirty="0">
              <a:solidFill>
                <a:schemeClr val="bg1"/>
              </a:solidFill>
            </a:endParaRPr>
          </a:p>
          <a:p>
            <a:endParaRPr lang="en-US" sz="2400" noProof="1">
              <a:solidFill>
                <a:schemeClr val="bg1"/>
              </a:solidFill>
              <a:latin typeface="Aptos"/>
              <a:ea typeface="Aptos"/>
              <a:cs typeface="Aptos"/>
            </a:endParaRP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37 busser hvorav 3 stk 15 meter </a:t>
            </a: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og 2 stk  minibusser</a:t>
            </a:r>
          </a:p>
          <a:p>
            <a:endParaRPr lang="en-US" sz="2400" noProof="1">
              <a:solidFill>
                <a:schemeClr val="bg1"/>
              </a:solidFill>
              <a:latin typeface="Aptos"/>
              <a:ea typeface="Aptos"/>
              <a:cs typeface="Aptos"/>
            </a:endParaRPr>
          </a:p>
          <a:p>
            <a:r>
              <a:rPr lang="en-US" sz="2400" noProof="1">
                <a:solidFill>
                  <a:schemeClr val="bg1"/>
                </a:solidFill>
                <a:latin typeface="Aptos"/>
                <a:ea typeface="Aptos"/>
                <a:cs typeface="Aptos"/>
              </a:rPr>
              <a:t>Vi kjører 14 forskjellige linjer</a:t>
            </a:r>
          </a:p>
          <a:p>
            <a:endParaRPr lang="en-US" sz="1100" noProof="1">
              <a:solidFill>
                <a:schemeClr val="bg1"/>
              </a:solidFill>
              <a:latin typeface="Aptos"/>
              <a:ea typeface="Aptos"/>
              <a:cs typeface="Aptos"/>
            </a:endParaRPr>
          </a:p>
          <a:p>
            <a:pPr>
              <a:buFont typeface=""/>
              <a:buChar char="•"/>
            </a:pPr>
            <a:endParaRPr lang="en-US" sz="1100" noProof="1">
              <a:solidFill>
                <a:srgbClr val="FFFFFF"/>
              </a:solidFill>
              <a:latin typeface="Aptos"/>
              <a:ea typeface="Aptos"/>
              <a:cs typeface="Arial" panose="020B0604020202020204"/>
            </a:endParaRPr>
          </a:p>
          <a:p>
            <a:endParaRPr lang="en-US" sz="1100" dirty="0">
              <a:solidFill>
                <a:srgbClr val="FFFFFF"/>
              </a:solidFill>
              <a:latin typeface="Aptos"/>
              <a:ea typeface="Aptos"/>
              <a:cs typeface="Arial" panose="020B0604020202020204"/>
            </a:endParaRPr>
          </a:p>
          <a:p>
            <a:pPr algn="ctr"/>
            <a:endParaRPr lang="nb-NO" sz="1600" dirty="0">
              <a:solidFill>
                <a:srgbClr val="000000"/>
              </a:solidFill>
              <a:latin typeface="Arial" panose="020B0604020202020204"/>
              <a:ea typeface="Aptos"/>
              <a:cs typeface="Arial" panose="020B0604020202020204"/>
            </a:endParaRPr>
          </a:p>
        </p:txBody>
      </p:sp>
      <p:pic>
        <p:nvPicPr>
          <p:cNvPr id="7" name="Bilde 6" descr="Et bilde som inneholder utendørs, himmel, sky, Landkjøretøy&#10;&#10;KI-generert innhold kan være feil.">
            <a:extLst>
              <a:ext uri="{FF2B5EF4-FFF2-40B4-BE49-F238E27FC236}">
                <a16:creationId xmlns:a16="http://schemas.microsoft.com/office/drawing/2014/main" id="{1E8429CD-B745-7610-A17A-00B04B8AB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3689" y="464158"/>
            <a:ext cx="6532562" cy="26911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Bilde 7" descr="Et bilde som inneholder utendørs, himmel, sky, Landkjøretøy">
            <a:extLst>
              <a:ext uri="{FF2B5EF4-FFF2-40B4-BE49-F238E27FC236}">
                <a16:creationId xmlns:a16="http://schemas.microsoft.com/office/drawing/2014/main" id="{18899089-5B36-6564-C177-BEFD3EFDC3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7813" y="3429353"/>
            <a:ext cx="6548438" cy="23091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260941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ED37438-E072-01D5-F014-763F4F021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02" y="312616"/>
            <a:ext cx="7924960" cy="483772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000" dirty="0"/>
              <a:t>Driftssituasjon:</a:t>
            </a:r>
          </a:p>
          <a:p>
            <a:pPr marL="515620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Rekruttering: vanskelig å rekruttere både faste og vikarer</a:t>
            </a:r>
          </a:p>
          <a:p>
            <a:pPr marL="515620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  <a:latin typeface="Arial"/>
                <a:cs typeface="Arial"/>
              </a:rPr>
              <a:t>Høyt sykefravær er utfordrende, som igjen genererer en del overtidsbruk</a:t>
            </a:r>
          </a:p>
          <a:p>
            <a:pPr marL="515620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nb-NO" dirty="0">
              <a:solidFill>
                <a:schemeClr val="bg1"/>
              </a:solidFill>
            </a:endParaRPr>
          </a:p>
          <a:p>
            <a:pPr marL="572770" lvl="1" indent="-342900" algn="l">
              <a:lnSpc>
                <a:spcPct val="90000"/>
              </a:lnSpc>
            </a:pPr>
            <a:r>
              <a:rPr lang="nb-NO" b="1" dirty="0">
                <a:solidFill>
                  <a:schemeClr val="bg1"/>
                </a:solidFill>
              </a:rPr>
              <a:t>Skader og risiko</a:t>
            </a:r>
            <a:r>
              <a:rPr lang="nb-NO" dirty="0">
                <a:solidFill>
                  <a:schemeClr val="bg1"/>
                </a:solidFill>
              </a:rPr>
              <a:t>: </a:t>
            </a:r>
          </a:p>
          <a:p>
            <a:pPr marL="572770" lvl="1" indent="-342900" algn="l">
              <a:lnSpc>
                <a:spcPct val="90000"/>
              </a:lnSpc>
            </a:pPr>
            <a:r>
              <a:rPr lang="nb-NO" dirty="0">
                <a:solidFill>
                  <a:schemeClr val="bg1"/>
                </a:solidFill>
              </a:rPr>
              <a:t>mange smale bygdeveier med stor risiko for skader og berging om vinteren. </a:t>
            </a:r>
          </a:p>
          <a:p>
            <a:pPr marL="572770" lvl="1" indent="-342900" algn="l">
              <a:lnSpc>
                <a:spcPct val="90000"/>
              </a:lnSpc>
            </a:pPr>
            <a:endParaRPr lang="nb-NO" dirty="0">
              <a:solidFill>
                <a:schemeClr val="bg1"/>
              </a:solidFill>
            </a:endParaRPr>
          </a:p>
          <a:p>
            <a:pPr marL="572770" lvl="1" indent="-342900" algn="l">
              <a:lnSpc>
                <a:spcPct val="90000"/>
              </a:lnSpc>
            </a:pPr>
            <a:r>
              <a:rPr lang="nb-NO" dirty="0">
                <a:solidFill>
                  <a:schemeClr val="bg1"/>
                </a:solidFill>
              </a:rPr>
              <a:t>Mye bruk av kjetting på vinterhalvåret</a:t>
            </a:r>
          </a:p>
          <a:p>
            <a:pPr marL="515620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nb-NO" sz="1100" dirty="0">
              <a:solidFill>
                <a:schemeClr val="bg1"/>
              </a:solidFill>
            </a:endParaRPr>
          </a:p>
        </p:txBody>
      </p:sp>
      <p:pic>
        <p:nvPicPr>
          <p:cNvPr id="6" name="Plassholder for bilde 5" descr="Et bilde som inneholder utendørs, tre, snø, kjøretøy">
            <a:extLst>
              <a:ext uri="{FF2B5EF4-FFF2-40B4-BE49-F238E27FC236}">
                <a16:creationId xmlns:a16="http://schemas.microsoft.com/office/drawing/2014/main" id="{2C55C32E-D463-A76D-89E8-1C63F082FFB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6" r="18706"/>
          <a:stretch>
            <a:fillRect/>
          </a:stretch>
        </p:blipFill>
        <p:spPr>
          <a:xfrm>
            <a:off x="9378463" y="572760"/>
            <a:ext cx="2813537" cy="42776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235E62B4-BA78-98D6-DB56-5EDE715D7CA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356350"/>
            <a:ext cx="50292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F1B55F9B-D0C8-4D9F-8D86-BFD0D0FECA55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pic>
        <p:nvPicPr>
          <p:cNvPr id="8" name="Bilde 7" descr="Et bilde som inneholder utendørs, transport, kjøretøy, Landkjøretøy&#10;&#10;KI-generert innhold kan være feil.">
            <a:extLst>
              <a:ext uri="{FF2B5EF4-FFF2-40B4-BE49-F238E27FC236}">
                <a16:creationId xmlns:a16="http://schemas.microsoft.com/office/drawing/2014/main" id="{4A35006B-A6F2-385E-8381-2914DD409D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10" y="4184813"/>
            <a:ext cx="4691030" cy="21632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073773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4006C-A91F-8D6D-9951-FD68692882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64A3CC1-B63A-C32E-A46E-3EF1C09022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33" y="296985"/>
            <a:ext cx="6428133" cy="4837722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230188" lvl="1" algn="l">
              <a:lnSpc>
                <a:spcPct val="90000"/>
              </a:lnSpc>
            </a:pPr>
            <a:r>
              <a:rPr lang="nb-NO" sz="2400" b="1" dirty="0">
                <a:solidFill>
                  <a:schemeClr val="bg1"/>
                </a:solidFill>
              </a:rPr>
              <a:t>Trafikale utfordringer:</a:t>
            </a:r>
          </a:p>
          <a:p>
            <a:pPr marL="515938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bg1"/>
                </a:solidFill>
              </a:rPr>
              <a:t>Manglende bussholdeplass, Shell </a:t>
            </a:r>
            <a:r>
              <a:rPr lang="nb-NO" sz="2400" dirty="0" err="1">
                <a:solidFill>
                  <a:schemeClr val="bg1"/>
                </a:solidFill>
              </a:rPr>
              <a:t>Roa,Andfossen</a:t>
            </a:r>
            <a:r>
              <a:rPr lang="nb-NO" sz="2400" dirty="0">
                <a:solidFill>
                  <a:schemeClr val="bg1"/>
                </a:solidFill>
              </a:rPr>
              <a:t> og </a:t>
            </a:r>
            <a:r>
              <a:rPr lang="nb-NO" sz="2400" dirty="0" err="1">
                <a:solidFill>
                  <a:schemeClr val="bg1"/>
                </a:solidFill>
              </a:rPr>
              <a:t>Mekonomen</a:t>
            </a:r>
            <a:r>
              <a:rPr lang="nb-NO" sz="2400" dirty="0">
                <a:solidFill>
                  <a:schemeClr val="bg1"/>
                </a:solidFill>
              </a:rPr>
              <a:t> Jaren</a:t>
            </a:r>
          </a:p>
          <a:p>
            <a:pPr marL="515938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bg1"/>
                </a:solidFill>
              </a:rPr>
              <a:t>Hønefoss sentrum: mye trafikk og forsinkelser i gummikrysset inn/ut av Hønefoss</a:t>
            </a:r>
          </a:p>
          <a:p>
            <a:pPr marL="230188" lvl="1" algn="l">
              <a:lnSpc>
                <a:spcPct val="90000"/>
              </a:lnSpc>
            </a:pPr>
            <a:endParaRPr lang="nb-NO" sz="2400" dirty="0">
              <a:solidFill>
                <a:schemeClr val="bg1"/>
              </a:solidFill>
            </a:endParaRPr>
          </a:p>
          <a:p>
            <a:pPr marL="230188" lvl="1" algn="l">
              <a:lnSpc>
                <a:spcPct val="90000"/>
              </a:lnSpc>
            </a:pPr>
            <a:endParaRPr lang="nb-NO" sz="2400" dirty="0">
              <a:solidFill>
                <a:schemeClr val="bg1"/>
              </a:solidFill>
            </a:endParaRPr>
          </a:p>
          <a:p>
            <a:pPr marL="230188" lvl="1" algn="l">
              <a:lnSpc>
                <a:spcPct val="90000"/>
              </a:lnSpc>
            </a:pPr>
            <a:r>
              <a:rPr lang="nb-NO" sz="2400" b="1" dirty="0">
                <a:solidFill>
                  <a:schemeClr val="bg1"/>
                </a:solidFill>
              </a:rPr>
              <a:t>Vinterdrift/veivedlikehold:</a:t>
            </a:r>
          </a:p>
          <a:p>
            <a:pPr marL="230188" lvl="1" algn="l">
              <a:lnSpc>
                <a:spcPct val="90000"/>
              </a:lnSpc>
            </a:pPr>
            <a:endParaRPr lang="nb-NO" sz="2400" dirty="0">
              <a:solidFill>
                <a:schemeClr val="bg1"/>
              </a:solidFill>
            </a:endParaRPr>
          </a:p>
          <a:p>
            <a:pPr marL="515938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bg1"/>
                </a:solidFill>
              </a:rPr>
              <a:t>Sliter med å få gehør hos kommune SVV når strøing og brøyting av veier</a:t>
            </a:r>
          </a:p>
          <a:p>
            <a:pPr marL="515938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bg1"/>
                </a:solidFill>
              </a:rPr>
              <a:t>Generelt dårlig vedlikehold av kommunale veier både sommer og vinter</a:t>
            </a:r>
          </a:p>
          <a:p>
            <a:pPr marL="515938" lvl="1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BAF73BB8-E56E-D0F5-4B3A-A0A37C2CB06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356350"/>
            <a:ext cx="50292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F1B55F9B-D0C8-4D9F-8D86-BFD0D0FECA55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pic>
        <p:nvPicPr>
          <p:cNvPr id="11" name="Bilde 10" descr="Et bilde som inneholder utendørs, gress, grunn, plante">
            <a:extLst>
              <a:ext uri="{FF2B5EF4-FFF2-40B4-BE49-F238E27FC236}">
                <a16:creationId xmlns:a16="http://schemas.microsoft.com/office/drawing/2014/main" id="{FB6B7336-914E-348D-4037-A301A910D7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754" y="0"/>
            <a:ext cx="4773673" cy="31402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94411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247CD8-C85F-4F7E-1820-6877B03757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6B295C54-653C-7A21-DE49-A6511AF18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2456" y="296985"/>
            <a:ext cx="7549821" cy="4837722"/>
          </a:xfrm>
        </p:spPr>
        <p:txBody>
          <a:bodyPr vert="horz" lIns="91440" tIns="45720" rIns="91440" bIns="45720" rtlCol="0">
            <a:normAutofit/>
          </a:bodyPr>
          <a:lstStyle/>
          <a:p>
            <a:pPr marL="230188" lvl="1" algn="l">
              <a:lnSpc>
                <a:spcPct val="90000"/>
              </a:lnSpc>
            </a:pPr>
            <a:endParaRPr lang="nb-NO" sz="5400" dirty="0">
              <a:solidFill>
                <a:schemeClr val="bg1"/>
              </a:solidFill>
            </a:endParaRPr>
          </a:p>
          <a:p>
            <a:pPr marL="230188" lvl="1" algn="l">
              <a:lnSpc>
                <a:spcPct val="90000"/>
              </a:lnSpc>
            </a:pPr>
            <a:endParaRPr lang="nb-NO" sz="5400" dirty="0">
              <a:solidFill>
                <a:schemeClr val="bg1"/>
              </a:solidFill>
            </a:endParaRPr>
          </a:p>
          <a:p>
            <a:pPr marL="230188" lvl="1" algn="l">
              <a:lnSpc>
                <a:spcPct val="90000"/>
              </a:lnSpc>
            </a:pPr>
            <a:endParaRPr lang="nb-NO" sz="5400">
              <a:solidFill>
                <a:schemeClr val="bg1"/>
              </a:solidFill>
            </a:endParaRPr>
          </a:p>
          <a:p>
            <a:pPr marL="230188" lvl="1" algn="l">
              <a:lnSpc>
                <a:spcPct val="90000"/>
              </a:lnSpc>
            </a:pPr>
            <a:r>
              <a:rPr lang="nb-NO" sz="5400">
                <a:solidFill>
                  <a:schemeClr val="bg1"/>
                </a:solidFill>
              </a:rPr>
              <a:t>Takk </a:t>
            </a:r>
            <a:r>
              <a:rPr lang="nb-NO" sz="5400" dirty="0">
                <a:solidFill>
                  <a:schemeClr val="bg1"/>
                </a:solidFill>
              </a:rPr>
              <a:t>for meg! </a:t>
            </a:r>
            <a:r>
              <a:rPr lang="nb-NO" sz="5400" dirty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nb-NO" sz="5400" dirty="0">
              <a:solidFill>
                <a:schemeClr val="bg1"/>
              </a:solidFill>
            </a:endParaRPr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892D52BB-9327-0E30-03AF-957820AEA6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356350"/>
            <a:ext cx="50292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F1B55F9B-D0C8-4D9F-8D86-BFD0D0FECA55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pic>
        <p:nvPicPr>
          <p:cNvPr id="9" name="Plassholder for bilde 8" descr="Et bilde som inneholder utendørs, vei, tre, Veidekke">
            <a:extLst>
              <a:ext uri="{FF2B5EF4-FFF2-40B4-BE49-F238E27FC236}">
                <a16:creationId xmlns:a16="http://schemas.microsoft.com/office/drawing/2014/main" id="{D095F073-7CF2-F343-3F25-C8EB309E611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31" r="19831"/>
          <a:stretch>
            <a:fillRect/>
          </a:stretch>
        </p:blipFill>
        <p:spPr>
          <a:xfrm>
            <a:off x="7605378" y="296985"/>
            <a:ext cx="4589228" cy="52630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29584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nect bus lys">
  <a:themeElements>
    <a:clrScheme name="Office">
      <a:dk1>
        <a:srgbClr val="002730"/>
      </a:dk1>
      <a:lt1>
        <a:sysClr val="window" lastClr="FFFFFF"/>
      </a:lt1>
      <a:dk2>
        <a:srgbClr val="002730"/>
      </a:dk2>
      <a:lt2>
        <a:srgbClr val="D1D7DF"/>
      </a:lt2>
      <a:accent1>
        <a:srgbClr val="DADFE5"/>
      </a:accent1>
      <a:accent2>
        <a:srgbClr val="809397"/>
      </a:accent2>
      <a:accent3>
        <a:srgbClr val="A5A5A5"/>
      </a:accent3>
      <a:accent4>
        <a:srgbClr val="002730"/>
      </a:accent4>
      <a:accent5>
        <a:srgbClr val="F6FF7D"/>
      </a:accent5>
      <a:accent6>
        <a:srgbClr val="FBFFBE"/>
      </a:accent6>
      <a:hlink>
        <a:srgbClr val="0563C1"/>
      </a:hlink>
      <a:folHlink>
        <a:srgbClr val="954F72"/>
      </a:folHlink>
    </a:clrScheme>
    <a:fontScheme name="ConnectBus">
      <a:majorFont>
        <a:latin typeface="ES Klarheit Kurrent Medium"/>
        <a:ea typeface=""/>
        <a:cs typeface=""/>
      </a:majorFont>
      <a:minorFont>
        <a:latin typeface="Mat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nnect Bus PPT_profilfont-DESKTOP-TSCDKNF.potx" id="{E09EC464-E43C-44DE-8181-A1912BC902C7}" vid="{6E605DA2-9887-4A41-88EC-34561FC76939}"/>
    </a:ext>
  </a:extLst>
</a:theme>
</file>

<file path=ppt/theme/theme2.xml><?xml version="1.0" encoding="utf-8"?>
<a:theme xmlns:a="http://schemas.openxmlformats.org/drawingml/2006/main" name="connect bus mørk">
  <a:themeElements>
    <a:clrScheme name="Office">
      <a:dk1>
        <a:srgbClr val="002730"/>
      </a:dk1>
      <a:lt1>
        <a:sysClr val="window" lastClr="FFFFFF"/>
      </a:lt1>
      <a:dk2>
        <a:srgbClr val="002730"/>
      </a:dk2>
      <a:lt2>
        <a:srgbClr val="D1D7DF"/>
      </a:lt2>
      <a:accent1>
        <a:srgbClr val="DADFE5"/>
      </a:accent1>
      <a:accent2>
        <a:srgbClr val="809397"/>
      </a:accent2>
      <a:accent3>
        <a:srgbClr val="A5A5A5"/>
      </a:accent3>
      <a:accent4>
        <a:srgbClr val="002730"/>
      </a:accent4>
      <a:accent5>
        <a:srgbClr val="F6FF7D"/>
      </a:accent5>
      <a:accent6>
        <a:srgbClr val="FBFFBE"/>
      </a:accent6>
      <a:hlink>
        <a:srgbClr val="0563C1"/>
      </a:hlink>
      <a:folHlink>
        <a:srgbClr val="954F72"/>
      </a:folHlink>
    </a:clrScheme>
    <a:fontScheme name="ConnectBus">
      <a:majorFont>
        <a:latin typeface="ES Klarheit Kurrent Medium"/>
        <a:ea typeface=""/>
        <a:cs typeface=""/>
      </a:majorFont>
      <a:minorFont>
        <a:latin typeface="Mat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nnect Bus PPT_profilfont-DESKTOP-TSCDKNF.potx" id="{E09EC464-E43C-44DE-8181-A1912BC902C7}" vid="{49427094-02E7-4227-994F-8E3935C0CA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nect bus mørk">
  <a:themeElements>
    <a:clrScheme name="Office">
      <a:dk1>
        <a:srgbClr val="002730"/>
      </a:dk1>
      <a:lt1>
        <a:sysClr val="window" lastClr="FFFFFF"/>
      </a:lt1>
      <a:dk2>
        <a:srgbClr val="002730"/>
      </a:dk2>
      <a:lt2>
        <a:srgbClr val="D1D7DF"/>
      </a:lt2>
      <a:accent1>
        <a:srgbClr val="DADFE5"/>
      </a:accent1>
      <a:accent2>
        <a:srgbClr val="809397"/>
      </a:accent2>
      <a:accent3>
        <a:srgbClr val="A5A5A5"/>
      </a:accent3>
      <a:accent4>
        <a:srgbClr val="002730"/>
      </a:accent4>
      <a:accent5>
        <a:srgbClr val="F6FF7D"/>
      </a:accent5>
      <a:accent6>
        <a:srgbClr val="FBFFBE"/>
      </a:accent6>
      <a:hlink>
        <a:srgbClr val="0563C1"/>
      </a:hlink>
      <a:folHlink>
        <a:srgbClr val="954F72"/>
      </a:folHlink>
    </a:clrScheme>
    <a:fontScheme name="Egendefinert 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nnect Bus PPT_Arial.potx" id="{369B2E4C-F389-475C-B735-613E9199AD18}" vid="{BF53AE1E-8734-4211-8868-31223AD2D74B}"/>
    </a:ext>
  </a:extLst>
</a:theme>
</file>

<file path=ppt/theme/theme5.xml><?xml version="1.0" encoding="utf-8"?>
<a:theme xmlns:a="http://schemas.openxmlformats.org/drawingml/2006/main" name="1_connect bus lys">
  <a:themeElements>
    <a:clrScheme name="Office">
      <a:dk1>
        <a:srgbClr val="002730"/>
      </a:dk1>
      <a:lt1>
        <a:sysClr val="window" lastClr="FFFFFF"/>
      </a:lt1>
      <a:dk2>
        <a:srgbClr val="002730"/>
      </a:dk2>
      <a:lt2>
        <a:srgbClr val="D1D7DF"/>
      </a:lt2>
      <a:accent1>
        <a:srgbClr val="DADFE5"/>
      </a:accent1>
      <a:accent2>
        <a:srgbClr val="809397"/>
      </a:accent2>
      <a:accent3>
        <a:srgbClr val="A5A5A5"/>
      </a:accent3>
      <a:accent4>
        <a:srgbClr val="002730"/>
      </a:accent4>
      <a:accent5>
        <a:srgbClr val="F6FF7D"/>
      </a:accent5>
      <a:accent6>
        <a:srgbClr val="FBFFBE"/>
      </a:accent6>
      <a:hlink>
        <a:srgbClr val="0563C1"/>
      </a:hlink>
      <a:folHlink>
        <a:srgbClr val="954F72"/>
      </a:folHlink>
    </a:clrScheme>
    <a:fontScheme name="Egendefinert 7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nnect Bus PPT_Arial.potx" id="{369B2E4C-F389-475C-B735-613E9199AD18}" vid="{F1CFC260-7CB5-4A28-9120-D72B570BF4CC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357B56C45CDEE4A9D112952EC9ED93B" ma:contentTypeVersion="7" ma:contentTypeDescription="Opprett et nytt dokument." ma:contentTypeScope="" ma:versionID="7f7f491715771c8d22e69c4d62b0eaed">
  <xsd:schema xmlns:xsd="http://www.w3.org/2001/XMLSchema" xmlns:xs="http://www.w3.org/2001/XMLSchema" xmlns:p="http://schemas.microsoft.com/office/2006/metadata/properties" xmlns:ns2="44bb4d58-51d8-4cf4-860c-743dea0da8f9" targetNamespace="http://schemas.microsoft.com/office/2006/metadata/properties" ma:root="true" ma:fieldsID="a7c71422b224ea928d3eb59652c47e9f" ns2:_="">
    <xsd:import namespace="44bb4d58-51d8-4cf4-860c-743dea0da8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bb4d58-51d8-4cf4-860c-743dea0da8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A616755-091A-4BAD-AC03-7DEEE31D39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7F24E7-8A6B-4309-88AE-5C9D44052EC3}"/>
</file>

<file path=customXml/itemProps3.xml><?xml version="1.0" encoding="utf-8"?>
<ds:datastoreItem xmlns:ds="http://schemas.openxmlformats.org/officeDocument/2006/customXml" ds:itemID="{FBFE24EC-96F9-4122-9503-68EAAB5D2050}">
  <ds:schemaRefs>
    <ds:schemaRef ds:uri="0b8f1bb9-9aeb-4fd0-82bc-a6e3d9dac59d"/>
    <ds:schemaRef ds:uri="http://schemas.openxmlformats.org/package/2006/metadata/core-properties"/>
    <ds:schemaRef ds:uri="http://purl.org/dc/dcmitype/"/>
    <ds:schemaRef ds:uri="91e4cadf-be04-4fce-ae34-9eeb3a926f65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3.03.28 Agenda City ledermøte</Template>
  <TotalTime>8254</TotalTime>
  <Words>238</Words>
  <Application>Microsoft Office PowerPoint</Application>
  <PresentationFormat>Widescreen</PresentationFormat>
  <Paragraphs>84</Paragraphs>
  <Slides>6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5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9" baseType="lpstr">
      <vt:lpstr>Aptos</vt:lpstr>
      <vt:lpstr>Arial</vt:lpstr>
      <vt:lpstr>Calibri</vt:lpstr>
      <vt:lpstr>Courier New</vt:lpstr>
      <vt:lpstr>ES Klarheit Kurrent Medium</vt:lpstr>
      <vt:lpstr>Matter</vt:lpstr>
      <vt:lpstr>Wingdings</vt:lpstr>
      <vt:lpstr>connect bus lys</vt:lpstr>
      <vt:lpstr>connect bus mørk</vt:lpstr>
      <vt:lpstr>Office Theme</vt:lpstr>
      <vt:lpstr>1_connect bus mørk</vt:lpstr>
      <vt:lpstr>1_connect bus lys</vt:lpstr>
      <vt:lpstr>think-cell Slide</vt:lpstr>
      <vt:lpstr> Presentasjon drift i Lunner, Gran og Jevnaker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Jan Erik Bogen</dc:creator>
  <cp:lastModifiedBy>Bent Kjersem-Drageset</cp:lastModifiedBy>
  <cp:revision>7</cp:revision>
  <dcterms:created xsi:type="dcterms:W3CDTF">2023-03-17T13:00:01Z</dcterms:created>
  <dcterms:modified xsi:type="dcterms:W3CDTF">2026-02-03T11:4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57B56C45CDEE4A9D112952EC9ED93B</vt:lpwstr>
  </property>
  <property fmtid="{D5CDD505-2E9C-101B-9397-08002B2CF9AE}" pid="3" name="MediaServiceImageTags">
    <vt:lpwstr/>
  </property>
</Properties>
</file>